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</p:sldMasterIdLst>
  <p:notesMasterIdLst>
    <p:notesMasterId r:id="rId22"/>
  </p:notesMasterIdLst>
  <p:sldIdLst>
    <p:sldId id="256" r:id="rId6"/>
    <p:sldId id="338" r:id="rId7"/>
    <p:sldId id="267" r:id="rId8"/>
    <p:sldId id="280" r:id="rId9"/>
    <p:sldId id="272" r:id="rId10"/>
    <p:sldId id="341" r:id="rId11"/>
    <p:sldId id="343" r:id="rId12"/>
    <p:sldId id="344" r:id="rId13"/>
    <p:sldId id="345" r:id="rId14"/>
    <p:sldId id="346" r:id="rId15"/>
    <p:sldId id="276" r:id="rId16"/>
    <p:sldId id="352" r:id="rId17"/>
    <p:sldId id="354" r:id="rId18"/>
    <p:sldId id="357" r:id="rId19"/>
    <p:sldId id="316" r:id="rId20"/>
    <p:sldId id="317" r:id="rId21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2029" autoAdjust="0"/>
  </p:normalViewPr>
  <p:slideViewPr>
    <p:cSldViewPr snapToGrid="0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C32B05-62EA-407A-B21C-2310C7945705}" type="doc">
      <dgm:prSet loTypeId="urn:microsoft.com/office/officeart/2005/8/layout/hChevron3" loCatId="cycle" qsTypeId="urn:microsoft.com/office/officeart/2005/8/quickstyle/simple4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2D71409-67F9-455C-8C6D-716D284AAA6B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0">
            <a:lnSpc>
              <a:spcPct val="110000"/>
            </a:lnSpc>
            <a:buNone/>
          </a:pPr>
          <a:r>
            <a:rPr lang="en-US" sz="1400">
              <a:latin typeface="Frutiger LT Com 65 Bold" panose="020B0803030504020204" pitchFamily="34" charset="0"/>
            </a:rPr>
            <a:t>2020</a:t>
          </a:r>
        </a:p>
      </dgm:t>
    </dgm:pt>
    <dgm:pt modelId="{51680ED1-AF6E-4B28-AE94-92B0EFB0DF7D}" type="parTrans" cxnId="{2AA9C11F-1F1D-428E-801A-47EAA766C99D}">
      <dgm:prSet/>
      <dgm:spPr/>
      <dgm:t>
        <a:bodyPr/>
        <a:lstStyle/>
        <a:p>
          <a:endParaRPr lang="en-US"/>
        </a:p>
      </dgm:t>
    </dgm:pt>
    <dgm:pt modelId="{478B7D3C-9FB4-4BC6-90AC-49960560DECD}" type="sibTrans" cxnId="{2AA9C11F-1F1D-428E-801A-47EAA766C99D}">
      <dgm:prSet/>
      <dgm:spPr/>
      <dgm:t>
        <a:bodyPr/>
        <a:lstStyle/>
        <a:p>
          <a:endParaRPr lang="en-US"/>
        </a:p>
      </dgm:t>
    </dgm:pt>
    <dgm:pt modelId="{F66099B6-DBBD-4AB0-82D2-877B80F846F7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>
              <a:latin typeface="Frutiger LT Com 65 Bold" panose="020B0803030504020204" pitchFamily="34" charset="0"/>
            </a:rPr>
            <a:t>2021</a:t>
          </a:r>
        </a:p>
      </dgm:t>
    </dgm:pt>
    <dgm:pt modelId="{B09C8BFB-F41C-4AC4-AB94-F216E3081C2D}" type="parTrans" cxnId="{B4F3EA32-CE64-4A92-9BAE-BC57E5392B05}">
      <dgm:prSet/>
      <dgm:spPr/>
      <dgm:t>
        <a:bodyPr/>
        <a:lstStyle/>
        <a:p>
          <a:endParaRPr lang="en-US"/>
        </a:p>
      </dgm:t>
    </dgm:pt>
    <dgm:pt modelId="{BC531B32-9B0E-482E-BF91-65C61F17168D}" type="sibTrans" cxnId="{B4F3EA32-CE64-4A92-9BAE-BC57E5392B05}">
      <dgm:prSet/>
      <dgm:spPr/>
      <dgm:t>
        <a:bodyPr/>
        <a:lstStyle/>
        <a:p>
          <a:endParaRPr lang="en-US"/>
        </a:p>
      </dgm:t>
    </dgm:pt>
    <dgm:pt modelId="{2A22E84C-3AA3-4E9C-AE5F-9C2FB0D7FB1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>
              <a:latin typeface="Frutiger LT Com 65 Bold" panose="020B0803030504020204" pitchFamily="34" charset="0"/>
            </a:rPr>
            <a:t>2022</a:t>
          </a:r>
          <a:endParaRPr lang="en-US" sz="1400"/>
        </a:p>
      </dgm:t>
    </dgm:pt>
    <dgm:pt modelId="{6C025E55-DF42-4C5D-AFD5-6015FA053D46}" type="parTrans" cxnId="{BEB859E7-C343-408E-86A1-667C27EE5761}">
      <dgm:prSet/>
      <dgm:spPr/>
      <dgm:t>
        <a:bodyPr/>
        <a:lstStyle/>
        <a:p>
          <a:endParaRPr lang="en-US"/>
        </a:p>
      </dgm:t>
    </dgm:pt>
    <dgm:pt modelId="{744EA591-F199-49C2-B63A-82709D96C729}" type="sibTrans" cxnId="{BEB859E7-C343-408E-86A1-667C27EE5761}">
      <dgm:prSet/>
      <dgm:spPr/>
      <dgm:t>
        <a:bodyPr/>
        <a:lstStyle/>
        <a:p>
          <a:endParaRPr lang="en-US"/>
        </a:p>
      </dgm:t>
    </dgm:pt>
    <dgm:pt modelId="{36045517-CEA4-4BE3-B836-C2B6BFE5649B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0">
            <a:lnSpc>
              <a:spcPct val="110000"/>
            </a:lnSpc>
            <a:buNone/>
          </a:pPr>
          <a:r>
            <a:rPr lang="en-US" sz="1400" b="1"/>
            <a:t>2023</a:t>
          </a:r>
        </a:p>
      </dgm:t>
    </dgm:pt>
    <dgm:pt modelId="{6231A36F-9B04-4B4A-917A-7E163AFFC956}" type="parTrans" cxnId="{4019353B-443B-4DED-AA6C-3C60E18414C7}">
      <dgm:prSet/>
      <dgm:spPr/>
      <dgm:t>
        <a:bodyPr/>
        <a:lstStyle/>
        <a:p>
          <a:endParaRPr lang="en-US"/>
        </a:p>
      </dgm:t>
    </dgm:pt>
    <dgm:pt modelId="{BFF3C5ED-87D0-4709-A3B8-A7BF0668006A}" type="sibTrans" cxnId="{4019353B-443B-4DED-AA6C-3C60E18414C7}">
      <dgm:prSet/>
      <dgm:spPr/>
      <dgm:t>
        <a:bodyPr/>
        <a:lstStyle/>
        <a:p>
          <a:endParaRPr lang="en-US"/>
        </a:p>
      </dgm:t>
    </dgm:pt>
    <dgm:pt modelId="{0507EB23-E579-4478-95DE-8B3AF2785525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10: Inaugural workshop </a:t>
          </a:r>
        </a:p>
      </dgm:t>
    </dgm:pt>
    <dgm:pt modelId="{123B8FA7-F5AC-4574-A3AA-6A93B87ED425}" type="sibTrans" cxnId="{0D6EFCC2-FDF8-4F6E-9A5E-CA692745C16F}">
      <dgm:prSet/>
      <dgm:spPr/>
      <dgm:t>
        <a:bodyPr/>
        <a:lstStyle/>
        <a:p>
          <a:endParaRPr lang="de-DE"/>
        </a:p>
      </dgm:t>
    </dgm:pt>
    <dgm:pt modelId="{F3890ED8-B1A6-42C1-ACD6-91916746AB30}" type="parTrans" cxnId="{0D6EFCC2-FDF8-4F6E-9A5E-CA692745C16F}">
      <dgm:prSet/>
      <dgm:spPr/>
      <dgm:t>
        <a:bodyPr/>
        <a:lstStyle/>
        <a:p>
          <a:endParaRPr lang="de-DE"/>
        </a:p>
      </dgm:t>
    </dgm:pt>
    <dgm:pt modelId="{DBCD5B3C-A86D-47A2-8434-08E893599803}">
      <dgm:prSet phldrT="[Text]" custT="1"/>
      <dgm:spPr>
        <a:solidFill>
          <a:schemeClr val="accent1"/>
        </a:solidFill>
        <a:ln w="50800">
          <a:solidFill>
            <a:schemeClr val="bg1"/>
          </a:solidFill>
        </a:ln>
        <a:effectLst/>
      </dgm:spPr>
      <dgm:t>
        <a:bodyPr lIns="216000" tIns="180000"/>
        <a:lstStyle/>
        <a:p>
          <a:pPr marL="180975" indent="-180975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12: Meeting</a:t>
          </a:r>
        </a:p>
      </dgm:t>
    </dgm:pt>
    <dgm:pt modelId="{E6ED9BA8-1290-4AB4-B022-0176401CC517}" type="parTrans" cxnId="{0B5FD747-676C-4F70-8EA0-D706FAAD205B}">
      <dgm:prSet/>
      <dgm:spPr/>
      <dgm:t>
        <a:bodyPr/>
        <a:lstStyle/>
        <a:p>
          <a:endParaRPr lang="de-DE"/>
        </a:p>
      </dgm:t>
    </dgm:pt>
    <dgm:pt modelId="{FEF86C3F-064E-4F3B-9B4B-2A707289F53B}" type="sibTrans" cxnId="{0B5FD747-676C-4F70-8EA0-D706FAAD205B}">
      <dgm:prSet/>
      <dgm:spPr/>
      <dgm:t>
        <a:bodyPr/>
        <a:lstStyle/>
        <a:p>
          <a:endParaRPr lang="de-DE"/>
        </a:p>
      </dgm:t>
    </dgm:pt>
    <dgm:pt modelId="{E60CAAF8-428E-4EC6-A91F-FEC80A57B5A5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09: WHO clearance</a:t>
          </a:r>
        </a:p>
      </dgm:t>
    </dgm:pt>
    <dgm:pt modelId="{1643D90C-F6DC-40D5-9CE6-2CC43E23CAE5}" type="parTrans" cxnId="{B2CDDF49-2946-4C25-AA1B-D3A698579505}">
      <dgm:prSet/>
      <dgm:spPr/>
      <dgm:t>
        <a:bodyPr/>
        <a:lstStyle/>
        <a:p>
          <a:endParaRPr lang="de-DE"/>
        </a:p>
      </dgm:t>
    </dgm:pt>
    <dgm:pt modelId="{2A5F5B2F-ADDD-4D6F-8350-633F3CA4D2D0}" type="sibTrans" cxnId="{B2CDDF49-2946-4C25-AA1B-D3A698579505}">
      <dgm:prSet/>
      <dgm:spPr/>
      <dgm:t>
        <a:bodyPr/>
        <a:lstStyle/>
        <a:p>
          <a:endParaRPr lang="de-DE"/>
        </a:p>
      </dgm:t>
    </dgm:pt>
    <dgm:pt modelId="{F120C875-C509-4081-87E6-6350904753BD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>
            <a:solidFill>
              <a:schemeClr val="bg1"/>
            </a:solidFill>
          </a:endParaRPr>
        </a:p>
      </dgm:t>
    </dgm:pt>
    <dgm:pt modelId="{2E0E720D-110C-4EE4-9D09-849E526553BD}" type="parTrans" cxnId="{8330F4DB-2FD0-423F-AB4F-95EACD0A5EE0}">
      <dgm:prSet/>
      <dgm:spPr/>
      <dgm:t>
        <a:bodyPr/>
        <a:lstStyle/>
        <a:p>
          <a:endParaRPr lang="de-DE"/>
        </a:p>
      </dgm:t>
    </dgm:pt>
    <dgm:pt modelId="{4AE28C9C-610B-4512-A6F1-FEDBA241D3BF}" type="sibTrans" cxnId="{8330F4DB-2FD0-423F-AB4F-95EACD0A5EE0}">
      <dgm:prSet/>
      <dgm:spPr/>
      <dgm:t>
        <a:bodyPr/>
        <a:lstStyle/>
        <a:p>
          <a:endParaRPr lang="de-DE"/>
        </a:p>
      </dgm:t>
    </dgm:pt>
    <dgm:pt modelId="{F8E3A3B7-F438-45D5-A29C-F200999E4D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02/03: ITU approval</a:t>
          </a:r>
        </a:p>
      </dgm:t>
    </dgm:pt>
    <dgm:pt modelId="{EBE74FE5-8352-47B1-A213-85F22B3EEE1C}" type="parTrans" cxnId="{A947D035-0B8B-4855-A643-AE9D369D77DA}">
      <dgm:prSet/>
      <dgm:spPr/>
      <dgm:t>
        <a:bodyPr/>
        <a:lstStyle/>
        <a:p>
          <a:endParaRPr lang="de-DE"/>
        </a:p>
      </dgm:t>
    </dgm:pt>
    <dgm:pt modelId="{37D7261F-5B1C-4A5C-8B6C-844FD207F39B}" type="sibTrans" cxnId="{A947D035-0B8B-4855-A643-AE9D369D77DA}">
      <dgm:prSet/>
      <dgm:spPr/>
      <dgm:t>
        <a:bodyPr/>
        <a:lstStyle/>
        <a:p>
          <a:endParaRPr lang="de-DE"/>
        </a:p>
      </dgm:t>
    </dgm:pt>
    <dgm:pt modelId="{DD4E9A18-2A8A-4AA0-802F-381B7855DAA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>
            <a:solidFill>
              <a:schemeClr val="bg1"/>
            </a:solidFill>
          </a:endParaRPr>
        </a:p>
      </dgm:t>
    </dgm:pt>
    <dgm:pt modelId="{B530A2DD-29FD-49B0-9122-03FC27C2B2DF}" type="parTrans" cxnId="{FF5BCB6A-3DC2-4341-9559-9552C881344C}">
      <dgm:prSet/>
      <dgm:spPr/>
      <dgm:t>
        <a:bodyPr/>
        <a:lstStyle/>
        <a:p>
          <a:endParaRPr lang="de-DE"/>
        </a:p>
      </dgm:t>
    </dgm:pt>
    <dgm:pt modelId="{592B1058-E6E3-4713-B13C-71CDE231CE94}" type="sibTrans" cxnId="{FF5BCB6A-3DC2-4341-9559-9552C881344C}">
      <dgm:prSet/>
      <dgm:spPr/>
      <dgm:t>
        <a:bodyPr/>
        <a:lstStyle/>
        <a:p>
          <a:endParaRPr lang="de-DE"/>
        </a:p>
      </dgm:t>
    </dgm:pt>
    <dgm:pt modelId="{B6AA7AF8-8E5E-423B-AEC6-2E09EFA77200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03: LMIC meeting</a:t>
          </a:r>
        </a:p>
      </dgm:t>
    </dgm:pt>
    <dgm:pt modelId="{DC7A4BE5-4896-420E-85A6-C4D22092C1F7}" type="sibTrans" cxnId="{79319D4F-6831-44C3-854B-6DFD55FEB07A}">
      <dgm:prSet/>
      <dgm:spPr/>
      <dgm:t>
        <a:bodyPr/>
        <a:lstStyle/>
        <a:p>
          <a:endParaRPr lang="de-DE"/>
        </a:p>
      </dgm:t>
    </dgm:pt>
    <dgm:pt modelId="{DD3AAC74-1FDB-4118-80FD-2C9569C48377}" type="parTrans" cxnId="{79319D4F-6831-44C3-854B-6DFD55FEB07A}">
      <dgm:prSet/>
      <dgm:spPr/>
      <dgm:t>
        <a:bodyPr/>
        <a:lstStyle/>
        <a:p>
          <a:endParaRPr lang="de-DE"/>
        </a:p>
      </dgm:t>
    </dgm:pt>
    <dgm:pt modelId="{62403018-E2A8-4BCD-A5CB-852ABBE7DB63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04: Review 1 &amp; meeting </a:t>
          </a:r>
        </a:p>
      </dgm:t>
    </dgm:pt>
    <dgm:pt modelId="{F8FA67A1-203D-4C58-BBBE-F741271D58A8}" type="sibTrans" cxnId="{63835FCB-F259-4C25-8657-052136F192D8}">
      <dgm:prSet/>
      <dgm:spPr/>
      <dgm:t>
        <a:bodyPr/>
        <a:lstStyle/>
        <a:p>
          <a:endParaRPr lang="de-DE"/>
        </a:p>
      </dgm:t>
    </dgm:pt>
    <dgm:pt modelId="{DBC92329-ECB9-4BAB-826B-867020D31D06}" type="parTrans" cxnId="{63835FCB-F259-4C25-8657-052136F192D8}">
      <dgm:prSet/>
      <dgm:spPr/>
      <dgm:t>
        <a:bodyPr/>
        <a:lstStyle/>
        <a:p>
          <a:endParaRPr lang="de-DE"/>
        </a:p>
      </dgm:t>
    </dgm:pt>
    <dgm:pt modelId="{E05C9ED9-D6B5-F749-9F8A-04780507B5E4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09: Review 2</a:t>
          </a:r>
        </a:p>
      </dgm:t>
    </dgm:pt>
    <dgm:pt modelId="{16C86B32-B972-B742-ACE6-F64F001AE195}" type="parTrans" cxnId="{333F078A-8BBB-6A47-8CF1-86424B17E05D}">
      <dgm:prSet/>
      <dgm:spPr/>
      <dgm:t>
        <a:bodyPr/>
        <a:lstStyle/>
        <a:p>
          <a:endParaRPr lang="de-DE"/>
        </a:p>
      </dgm:t>
    </dgm:pt>
    <dgm:pt modelId="{0B7436E7-0B2A-FE45-AB80-29EC638F92B3}" type="sibTrans" cxnId="{333F078A-8BBB-6A47-8CF1-86424B17E05D}">
      <dgm:prSet/>
      <dgm:spPr/>
      <dgm:t>
        <a:bodyPr/>
        <a:lstStyle/>
        <a:p>
          <a:endParaRPr lang="de-DE"/>
        </a:p>
      </dgm:t>
    </dgm:pt>
    <dgm:pt modelId="{AB999E15-5A9E-A142-AE25-F41128C4D291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2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11: Meeting</a:t>
          </a:r>
        </a:p>
      </dgm:t>
    </dgm:pt>
    <dgm:pt modelId="{CFED000F-8713-EF4B-9EEE-D1CAF0A44812}" type="parTrans" cxnId="{8D1BFC95-88D9-AB4A-819A-5B258D1B4788}">
      <dgm:prSet/>
      <dgm:spPr/>
      <dgm:t>
        <a:bodyPr/>
        <a:lstStyle/>
        <a:p>
          <a:endParaRPr lang="de-DE"/>
        </a:p>
      </dgm:t>
    </dgm:pt>
    <dgm:pt modelId="{D2A83767-F445-BE44-801E-970F2732A4A5}" type="sibTrans" cxnId="{8D1BFC95-88D9-AB4A-819A-5B258D1B4788}">
      <dgm:prSet/>
      <dgm:spPr/>
      <dgm:t>
        <a:bodyPr/>
        <a:lstStyle/>
        <a:p>
          <a:endParaRPr lang="de-DE"/>
        </a:p>
      </dgm:t>
    </dgm:pt>
    <dgm:pt modelId="{4BE50766-6D1A-F940-8D3E-31699156F6E9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10: Meeting “future priorities”</a:t>
          </a:r>
        </a:p>
      </dgm:t>
    </dgm:pt>
    <dgm:pt modelId="{6D40DEEE-EC2F-564B-85E7-BB5F2A1E5FF8}" type="parTrans" cxnId="{694F6D0A-7B3E-8F4D-83E1-ADB94726E9C3}">
      <dgm:prSet/>
      <dgm:spPr/>
      <dgm:t>
        <a:bodyPr/>
        <a:lstStyle/>
        <a:p>
          <a:endParaRPr lang="de-DE"/>
        </a:p>
      </dgm:t>
    </dgm:pt>
    <dgm:pt modelId="{B266B8AC-38AD-7244-88E2-A2297DED671E}" type="sibTrans" cxnId="{694F6D0A-7B3E-8F4D-83E1-ADB94726E9C3}">
      <dgm:prSet/>
      <dgm:spPr/>
      <dgm:t>
        <a:bodyPr/>
        <a:lstStyle/>
        <a:p>
          <a:endParaRPr lang="de-DE"/>
        </a:p>
      </dgm:t>
    </dgm:pt>
    <dgm:pt modelId="{39FF7321-A806-5E45-A53D-FB203B3DC498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5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4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>
              <a:solidFill>
                <a:schemeClr val="bg1"/>
              </a:solidFill>
            </a:rPr>
            <a:t>10/11: Follow up meetings</a:t>
          </a:r>
        </a:p>
      </dgm:t>
    </dgm:pt>
    <dgm:pt modelId="{A62340F8-8C51-6E43-B6C0-3DF2CD432169}" type="parTrans" cxnId="{1E87E2E1-194C-2F4A-8FBC-E2211FC2FAE5}">
      <dgm:prSet/>
      <dgm:spPr/>
      <dgm:t>
        <a:bodyPr/>
        <a:lstStyle/>
        <a:p>
          <a:endParaRPr lang="de-DE"/>
        </a:p>
      </dgm:t>
    </dgm:pt>
    <dgm:pt modelId="{907B7FF3-6D03-454B-A30D-CE8657F742D9}" type="sibTrans" cxnId="{1E87E2E1-194C-2F4A-8FBC-E2211FC2FAE5}">
      <dgm:prSet/>
      <dgm:spPr/>
      <dgm:t>
        <a:bodyPr/>
        <a:lstStyle/>
        <a:p>
          <a:endParaRPr lang="de-DE"/>
        </a:p>
      </dgm:t>
    </dgm:pt>
    <dgm:pt modelId="{859AED8F-8A1E-BA48-82C8-8766A2748B28}">
      <dgm:prSet phldrT="[Text]" custT="1">
        <dgm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dgm:style>
      </dgm:prSet>
      <dgm:spPr>
        <a:solidFill>
          <a:schemeClr val="accent5"/>
        </a:solidFill>
        <a:ln w="50800">
          <a:solidFill>
            <a:schemeClr val="bg1"/>
          </a:solidFill>
        </a:ln>
        <a:effectLst/>
      </dgm:spPr>
      <dgm:t>
        <a:bodyPr tIns="180000"/>
        <a:lstStyle/>
        <a:p>
          <a:pPr marL="180000" indent="-180000">
            <a:lnSpc>
              <a:spcPct val="110000"/>
            </a:lnSpc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dirty="0">
              <a:solidFill>
                <a:schemeClr val="bg1"/>
              </a:solidFill>
            </a:rPr>
            <a:t>Publications (ITU/WHO)</a:t>
          </a:r>
        </a:p>
      </dgm:t>
    </dgm:pt>
    <dgm:pt modelId="{B02C32D2-08E0-F541-87A4-E6893CB93593}" type="parTrans" cxnId="{EC87E4C1-94EF-1846-A01D-093AE4BF6452}">
      <dgm:prSet/>
      <dgm:spPr/>
      <dgm:t>
        <a:bodyPr/>
        <a:lstStyle/>
        <a:p>
          <a:endParaRPr lang="de-DE"/>
        </a:p>
      </dgm:t>
    </dgm:pt>
    <dgm:pt modelId="{FBC55E50-D50A-C549-A0DC-0B4691233F4D}" type="sibTrans" cxnId="{EC87E4C1-94EF-1846-A01D-093AE4BF6452}">
      <dgm:prSet/>
      <dgm:spPr/>
      <dgm:t>
        <a:bodyPr/>
        <a:lstStyle/>
        <a:p>
          <a:endParaRPr lang="de-DE"/>
        </a:p>
      </dgm:t>
    </dgm:pt>
    <dgm:pt modelId="{AB306E7F-BBFE-4840-97DE-4860B97247CD}" type="pres">
      <dgm:prSet presAssocID="{B9C32B05-62EA-407A-B21C-2310C7945705}" presName="Name0" presStyleCnt="0">
        <dgm:presLayoutVars>
          <dgm:dir/>
          <dgm:resizeHandles val="exact"/>
        </dgm:presLayoutVars>
      </dgm:prSet>
      <dgm:spPr/>
    </dgm:pt>
    <dgm:pt modelId="{B9826503-FF9C-6249-9C5E-E871F59DF66E}" type="pres">
      <dgm:prSet presAssocID="{42D71409-67F9-455C-8C6D-716D284AAA6B}" presName="parAndChTx" presStyleLbl="node1" presStyleIdx="0" presStyleCnt="4">
        <dgm:presLayoutVars>
          <dgm:bulletEnabled val="1"/>
        </dgm:presLayoutVars>
      </dgm:prSet>
      <dgm:spPr/>
    </dgm:pt>
    <dgm:pt modelId="{9E68C294-9D60-C64E-831C-8471394B08F2}" type="pres">
      <dgm:prSet presAssocID="{478B7D3C-9FB4-4BC6-90AC-49960560DECD}" presName="parAndChSpace" presStyleCnt="0"/>
      <dgm:spPr/>
    </dgm:pt>
    <dgm:pt modelId="{CE4FB90A-23D3-624D-9472-058615351CBF}" type="pres">
      <dgm:prSet presAssocID="{F66099B6-DBBD-4AB0-82D2-877B80F846F7}" presName="parAndChTx" presStyleLbl="node1" presStyleIdx="1" presStyleCnt="4" custLinFactNeighborX="238">
        <dgm:presLayoutVars>
          <dgm:bulletEnabled val="1"/>
        </dgm:presLayoutVars>
      </dgm:prSet>
      <dgm:spPr>
        <a:xfrm>
          <a:off x="2139347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85FAA2A2-408F-4949-BE8D-AD37BDF00EDF}" type="pres">
      <dgm:prSet presAssocID="{BC531B32-9B0E-482E-BF91-65C61F17168D}" presName="parAndChSpace" presStyleCnt="0"/>
      <dgm:spPr/>
    </dgm:pt>
    <dgm:pt modelId="{06E132D3-40E2-204E-AF8C-A0D9B0AEDE48}" type="pres">
      <dgm:prSet presAssocID="{2A22E84C-3AA3-4E9C-AE5F-9C2FB0D7FB11}" presName="parAndChTx" presStyleLbl="node1" presStyleIdx="2" presStyleCnt="4" custLinFactNeighborX="808">
        <dgm:presLayoutVars>
          <dgm:bulletEnabled val="1"/>
        </dgm:presLayoutVars>
      </dgm:prSet>
      <dgm:spPr>
        <a:xfrm>
          <a:off x="6415806" y="1032955"/>
          <a:ext cx="2670883" cy="2136706"/>
        </a:xfrm>
        <a:prstGeom prst="chevron">
          <a:avLst>
            <a:gd name="adj" fmla="val 25000"/>
          </a:avLst>
        </a:prstGeom>
      </dgm:spPr>
    </dgm:pt>
    <dgm:pt modelId="{0533F1AC-E484-2A4A-87E0-4742A07FFE2C}" type="pres">
      <dgm:prSet presAssocID="{744EA591-F199-49C2-B63A-82709D96C729}" presName="parAndChSpace" presStyleCnt="0"/>
      <dgm:spPr/>
    </dgm:pt>
    <dgm:pt modelId="{182A42C9-E9CF-A141-834A-3F05F838D1A7}" type="pres">
      <dgm:prSet presAssocID="{36045517-CEA4-4BE3-B836-C2B6BFE5649B}" presName="parAndChTx" presStyleLbl="node1" presStyleIdx="3" presStyleCnt="4" custLinFactNeighborX="2247">
        <dgm:presLayoutVars>
          <dgm:bulletEnabled val="1"/>
        </dgm:presLayoutVars>
      </dgm:prSet>
      <dgm:spPr>
        <a:xfrm>
          <a:off x="8549566" y="1032955"/>
          <a:ext cx="2670883" cy="2136706"/>
        </a:xfrm>
        <a:prstGeom prst="chevron">
          <a:avLst>
            <a:gd name="adj" fmla="val 25000"/>
          </a:avLst>
        </a:prstGeom>
      </dgm:spPr>
    </dgm:pt>
  </dgm:ptLst>
  <dgm:cxnLst>
    <dgm:cxn modelId="{26D83005-2481-4448-8554-976BA5AEB4FC}" type="presOf" srcId="{E05C9ED9-D6B5-F749-9F8A-04780507B5E4}" destId="{CE4FB90A-23D3-624D-9472-058615351CBF}" srcOrd="0" destOrd="3" presId="urn:microsoft.com/office/officeart/2005/8/layout/hChevron3"/>
    <dgm:cxn modelId="{694F6D0A-7B3E-8F4D-83E1-ADB94726E9C3}" srcId="{2A22E84C-3AA3-4E9C-AE5F-9C2FB0D7FB11}" destId="{4BE50766-6D1A-F940-8D3E-31699156F6E9}" srcOrd="1" destOrd="0" parTransId="{6D40DEEE-EC2F-564B-85E7-BB5F2A1E5FF8}" sibTransId="{B266B8AC-38AD-7244-88E2-A2297DED671E}"/>
    <dgm:cxn modelId="{F2BC8F1B-6C7C-4037-8FA2-511BCA555262}" type="presOf" srcId="{0507EB23-E579-4478-95DE-8B3AF2785525}" destId="{B9826503-FF9C-6249-9C5E-E871F59DF66E}" srcOrd="0" destOrd="1" presId="urn:microsoft.com/office/officeart/2005/8/layout/hChevron3"/>
    <dgm:cxn modelId="{61D7941F-5EBF-492C-9D57-B49C1BE1EA1C}" type="presOf" srcId="{B6AA7AF8-8E5E-423B-AEC6-2E09EFA77200}" destId="{CE4FB90A-23D3-624D-9472-058615351CBF}" srcOrd="0" destOrd="1" presId="urn:microsoft.com/office/officeart/2005/8/layout/hChevron3"/>
    <dgm:cxn modelId="{2AA9C11F-1F1D-428E-801A-47EAA766C99D}" srcId="{B9C32B05-62EA-407A-B21C-2310C7945705}" destId="{42D71409-67F9-455C-8C6D-716D284AAA6B}" srcOrd="0" destOrd="0" parTransId="{51680ED1-AF6E-4B28-AE94-92B0EFB0DF7D}" sibTransId="{478B7D3C-9FB4-4BC6-90AC-49960560DECD}"/>
    <dgm:cxn modelId="{B4F3EA32-CE64-4A92-9BAE-BC57E5392B05}" srcId="{B9C32B05-62EA-407A-B21C-2310C7945705}" destId="{F66099B6-DBBD-4AB0-82D2-877B80F846F7}" srcOrd="1" destOrd="0" parTransId="{B09C8BFB-F41C-4AC4-AB94-F216E3081C2D}" sibTransId="{BC531B32-9B0E-482E-BF91-65C61F17168D}"/>
    <dgm:cxn modelId="{A947D035-0B8B-4855-A643-AE9D369D77DA}" srcId="{36045517-CEA4-4BE3-B836-C2B6BFE5649B}" destId="{F8E3A3B7-F438-45D5-A29C-F200999E4D00}" srcOrd="0" destOrd="0" parTransId="{EBE74FE5-8352-47B1-A213-85F22B3EEE1C}" sibTransId="{37D7261F-5B1C-4A5C-8B6C-844FD207F39B}"/>
    <dgm:cxn modelId="{4019353B-443B-4DED-AA6C-3C60E18414C7}" srcId="{B9C32B05-62EA-407A-B21C-2310C7945705}" destId="{36045517-CEA4-4BE3-B836-C2B6BFE5649B}" srcOrd="3" destOrd="0" parTransId="{6231A36F-9B04-4B4A-917A-7E163AFFC956}" sibTransId="{BFF3C5ED-87D0-4709-A3B8-A7BF0668006A}"/>
    <dgm:cxn modelId="{C372D560-F3C4-4CD5-91B5-7198B58A4521}" type="presOf" srcId="{DBCD5B3C-A86D-47A2-8434-08E893599803}" destId="{B9826503-FF9C-6249-9C5E-E871F59DF66E}" srcOrd="0" destOrd="2" presId="urn:microsoft.com/office/officeart/2005/8/layout/hChevron3"/>
    <dgm:cxn modelId="{B6B86044-5BC8-FE46-9BCF-5CF76809D2F5}" type="presOf" srcId="{AB999E15-5A9E-A142-AE25-F41128C4D291}" destId="{CE4FB90A-23D3-624D-9472-058615351CBF}" srcOrd="0" destOrd="4" presId="urn:microsoft.com/office/officeart/2005/8/layout/hChevron3"/>
    <dgm:cxn modelId="{A32A0746-47D7-A044-B39A-6BBB4F69D964}" type="presOf" srcId="{4BE50766-6D1A-F940-8D3E-31699156F6E9}" destId="{06E132D3-40E2-204E-AF8C-A0D9B0AEDE48}" srcOrd="0" destOrd="2" presId="urn:microsoft.com/office/officeart/2005/8/layout/hChevron3"/>
    <dgm:cxn modelId="{0B5FD747-676C-4F70-8EA0-D706FAAD205B}" srcId="{42D71409-67F9-455C-8C6D-716D284AAA6B}" destId="{DBCD5B3C-A86D-47A2-8434-08E893599803}" srcOrd="1" destOrd="0" parTransId="{E6ED9BA8-1290-4AB4-B022-0176401CC517}" sibTransId="{FEF86C3F-064E-4F3B-9B4B-2A707289F53B}"/>
    <dgm:cxn modelId="{B2CDDF49-2946-4C25-AA1B-D3A698579505}" srcId="{2A22E84C-3AA3-4E9C-AE5F-9C2FB0D7FB11}" destId="{E60CAAF8-428E-4EC6-A91F-FEC80A57B5A5}" srcOrd="0" destOrd="0" parTransId="{1643D90C-F6DC-40D5-9CE6-2CC43E23CAE5}" sibTransId="{2A5F5B2F-ADDD-4D6F-8350-633F3CA4D2D0}"/>
    <dgm:cxn modelId="{FF5BCB6A-3DC2-4341-9559-9552C881344C}" srcId="{36045517-CEA4-4BE3-B836-C2B6BFE5649B}" destId="{DD4E9A18-2A8A-4AA0-802F-381B7855DAA1}" srcOrd="2" destOrd="0" parTransId="{B530A2DD-29FD-49B0-9122-03FC27C2B2DF}" sibTransId="{592B1058-E6E3-4713-B13C-71CDE231CE94}"/>
    <dgm:cxn modelId="{79319D4F-6831-44C3-854B-6DFD55FEB07A}" srcId="{F66099B6-DBBD-4AB0-82D2-877B80F846F7}" destId="{B6AA7AF8-8E5E-423B-AEC6-2E09EFA77200}" srcOrd="0" destOrd="0" parTransId="{DD3AAC74-1FDB-4118-80FD-2C9569C48377}" sibTransId="{DC7A4BE5-4896-420E-85A6-C4D22092C1F7}"/>
    <dgm:cxn modelId="{6098A082-8692-AB46-984B-7F99438C1E5E}" type="presOf" srcId="{2A22E84C-3AA3-4E9C-AE5F-9C2FB0D7FB11}" destId="{06E132D3-40E2-204E-AF8C-A0D9B0AEDE48}" srcOrd="0" destOrd="0" presId="urn:microsoft.com/office/officeart/2005/8/layout/hChevron3"/>
    <dgm:cxn modelId="{06A6BA89-3251-4B4B-BFF9-C5C71D022B5A}" type="presOf" srcId="{859AED8F-8A1E-BA48-82C8-8766A2748B28}" destId="{182A42C9-E9CF-A141-834A-3F05F838D1A7}" srcOrd="0" destOrd="2" presId="urn:microsoft.com/office/officeart/2005/8/layout/hChevron3"/>
    <dgm:cxn modelId="{499AFE89-1C22-4809-A31B-44BC6F87F2FD}" type="presOf" srcId="{DD4E9A18-2A8A-4AA0-802F-381B7855DAA1}" destId="{182A42C9-E9CF-A141-834A-3F05F838D1A7}" srcOrd="0" destOrd="3" presId="urn:microsoft.com/office/officeart/2005/8/layout/hChevron3"/>
    <dgm:cxn modelId="{333F078A-8BBB-6A47-8CF1-86424B17E05D}" srcId="{F66099B6-DBBD-4AB0-82D2-877B80F846F7}" destId="{E05C9ED9-D6B5-F749-9F8A-04780507B5E4}" srcOrd="2" destOrd="0" parTransId="{16C86B32-B972-B742-ACE6-F64F001AE195}" sibTransId="{0B7436E7-0B2A-FE45-AB80-29EC638F92B3}"/>
    <dgm:cxn modelId="{F3A4758F-9A87-2C42-84ED-AA4E8390D207}" type="presOf" srcId="{39FF7321-A806-5E45-A53D-FB203B3DC498}" destId="{06E132D3-40E2-204E-AF8C-A0D9B0AEDE48}" srcOrd="0" destOrd="3" presId="urn:microsoft.com/office/officeart/2005/8/layout/hChevron3"/>
    <dgm:cxn modelId="{8D1BFC95-88D9-AB4A-819A-5B258D1B4788}" srcId="{F66099B6-DBBD-4AB0-82D2-877B80F846F7}" destId="{AB999E15-5A9E-A142-AE25-F41128C4D291}" srcOrd="3" destOrd="0" parTransId="{CFED000F-8713-EF4B-9EEE-D1CAF0A44812}" sibTransId="{D2A83767-F445-BE44-801E-970F2732A4A5}"/>
    <dgm:cxn modelId="{5FC5EAA9-04D6-4B44-89E3-55C1C95F6D03}" type="presOf" srcId="{42D71409-67F9-455C-8C6D-716D284AAA6B}" destId="{B9826503-FF9C-6249-9C5E-E871F59DF66E}" srcOrd="0" destOrd="0" presId="urn:microsoft.com/office/officeart/2005/8/layout/hChevron3"/>
    <dgm:cxn modelId="{448C13BD-94AB-47FD-A3E5-F77C1D4F29A1}" type="presOf" srcId="{E60CAAF8-428E-4EC6-A91F-FEC80A57B5A5}" destId="{06E132D3-40E2-204E-AF8C-A0D9B0AEDE48}" srcOrd="0" destOrd="1" presId="urn:microsoft.com/office/officeart/2005/8/layout/hChevron3"/>
    <dgm:cxn modelId="{EC87E4C1-94EF-1846-A01D-093AE4BF6452}" srcId="{36045517-CEA4-4BE3-B836-C2B6BFE5649B}" destId="{859AED8F-8A1E-BA48-82C8-8766A2748B28}" srcOrd="1" destOrd="0" parTransId="{B02C32D2-08E0-F541-87A4-E6893CB93593}" sibTransId="{FBC55E50-D50A-C549-A0DC-0B4691233F4D}"/>
    <dgm:cxn modelId="{6C3A2DC2-4534-444F-B2A4-EC21C4097F1A}" type="presOf" srcId="{36045517-CEA4-4BE3-B836-C2B6BFE5649B}" destId="{182A42C9-E9CF-A141-834A-3F05F838D1A7}" srcOrd="0" destOrd="0" presId="urn:microsoft.com/office/officeart/2005/8/layout/hChevron3"/>
    <dgm:cxn modelId="{0D6EFCC2-FDF8-4F6E-9A5E-CA692745C16F}" srcId="{42D71409-67F9-455C-8C6D-716D284AAA6B}" destId="{0507EB23-E579-4478-95DE-8B3AF2785525}" srcOrd="0" destOrd="0" parTransId="{F3890ED8-B1A6-42C1-ACD6-91916746AB30}" sibTransId="{123B8FA7-F5AC-4574-A3AA-6A93B87ED425}"/>
    <dgm:cxn modelId="{63835FCB-F259-4C25-8657-052136F192D8}" srcId="{F66099B6-DBBD-4AB0-82D2-877B80F846F7}" destId="{62403018-E2A8-4BCD-A5CB-852ABBE7DB63}" srcOrd="1" destOrd="0" parTransId="{DBC92329-ECB9-4BAB-826B-867020D31D06}" sibTransId="{F8FA67A1-203D-4C58-BBBE-F741271D58A8}"/>
    <dgm:cxn modelId="{7CF965CB-6E73-8C40-A714-E58570D12267}" type="presOf" srcId="{F66099B6-DBBD-4AB0-82D2-877B80F846F7}" destId="{CE4FB90A-23D3-624D-9472-058615351CBF}" srcOrd="0" destOrd="0" presId="urn:microsoft.com/office/officeart/2005/8/layout/hChevron3"/>
    <dgm:cxn modelId="{771A36CD-2BA5-154E-AC00-01B6378AFB6D}" type="presOf" srcId="{B9C32B05-62EA-407A-B21C-2310C7945705}" destId="{AB306E7F-BBFE-4840-97DE-4860B97247CD}" srcOrd="0" destOrd="0" presId="urn:microsoft.com/office/officeart/2005/8/layout/hChevron3"/>
    <dgm:cxn modelId="{AAFDC6CD-9789-4F2F-9856-AFA5819D6635}" type="presOf" srcId="{F120C875-C509-4081-87E6-6350904753BD}" destId="{06E132D3-40E2-204E-AF8C-A0D9B0AEDE48}" srcOrd="0" destOrd="4" presId="urn:microsoft.com/office/officeart/2005/8/layout/hChevron3"/>
    <dgm:cxn modelId="{701333CE-F8FE-470A-9DFD-70A4933969B2}" type="presOf" srcId="{F8E3A3B7-F438-45D5-A29C-F200999E4D00}" destId="{182A42C9-E9CF-A141-834A-3F05F838D1A7}" srcOrd="0" destOrd="1" presId="urn:microsoft.com/office/officeart/2005/8/layout/hChevron3"/>
    <dgm:cxn modelId="{8330F4DB-2FD0-423F-AB4F-95EACD0A5EE0}" srcId="{2A22E84C-3AA3-4E9C-AE5F-9C2FB0D7FB11}" destId="{F120C875-C509-4081-87E6-6350904753BD}" srcOrd="3" destOrd="0" parTransId="{2E0E720D-110C-4EE4-9D09-849E526553BD}" sibTransId="{4AE28C9C-610B-4512-A6F1-FEDBA241D3BF}"/>
    <dgm:cxn modelId="{1E87E2E1-194C-2F4A-8FBC-E2211FC2FAE5}" srcId="{2A22E84C-3AA3-4E9C-AE5F-9C2FB0D7FB11}" destId="{39FF7321-A806-5E45-A53D-FB203B3DC498}" srcOrd="2" destOrd="0" parTransId="{A62340F8-8C51-6E43-B6C0-3DF2CD432169}" sibTransId="{907B7FF3-6D03-454B-A30D-CE8657F742D9}"/>
    <dgm:cxn modelId="{BEB859E7-C343-408E-86A1-667C27EE5761}" srcId="{B9C32B05-62EA-407A-B21C-2310C7945705}" destId="{2A22E84C-3AA3-4E9C-AE5F-9C2FB0D7FB11}" srcOrd="2" destOrd="0" parTransId="{6C025E55-DF42-4C5D-AFD5-6015FA053D46}" sibTransId="{744EA591-F199-49C2-B63A-82709D96C729}"/>
    <dgm:cxn modelId="{BE9378EA-E4EB-4B11-9EC5-897E9C08EFC2}" type="presOf" srcId="{62403018-E2A8-4BCD-A5CB-852ABBE7DB63}" destId="{CE4FB90A-23D3-624D-9472-058615351CBF}" srcOrd="0" destOrd="2" presId="urn:microsoft.com/office/officeart/2005/8/layout/hChevron3"/>
    <dgm:cxn modelId="{DE6ACD62-BCE5-D54F-A6F6-A039788F89A4}" type="presParOf" srcId="{AB306E7F-BBFE-4840-97DE-4860B97247CD}" destId="{B9826503-FF9C-6249-9C5E-E871F59DF66E}" srcOrd="0" destOrd="0" presId="urn:microsoft.com/office/officeart/2005/8/layout/hChevron3"/>
    <dgm:cxn modelId="{69B8145E-251F-EE4F-ABCC-4048475C3A0B}" type="presParOf" srcId="{AB306E7F-BBFE-4840-97DE-4860B97247CD}" destId="{9E68C294-9D60-C64E-831C-8471394B08F2}" srcOrd="1" destOrd="0" presId="urn:microsoft.com/office/officeart/2005/8/layout/hChevron3"/>
    <dgm:cxn modelId="{446E00F2-6ACA-2F4D-AD09-C2B503BFF403}" type="presParOf" srcId="{AB306E7F-BBFE-4840-97DE-4860B97247CD}" destId="{CE4FB90A-23D3-624D-9472-058615351CBF}" srcOrd="2" destOrd="0" presId="urn:microsoft.com/office/officeart/2005/8/layout/hChevron3"/>
    <dgm:cxn modelId="{8A768791-3A2E-5E46-8EC8-7EB78D621572}" type="presParOf" srcId="{AB306E7F-BBFE-4840-97DE-4860B97247CD}" destId="{85FAA2A2-408F-4949-BE8D-AD37BDF00EDF}" srcOrd="3" destOrd="0" presId="urn:microsoft.com/office/officeart/2005/8/layout/hChevron3"/>
    <dgm:cxn modelId="{180A4A5F-14AD-1B4A-9A63-493764DC42F5}" type="presParOf" srcId="{AB306E7F-BBFE-4840-97DE-4860B97247CD}" destId="{06E132D3-40E2-204E-AF8C-A0D9B0AEDE48}" srcOrd="4" destOrd="0" presId="urn:microsoft.com/office/officeart/2005/8/layout/hChevron3"/>
    <dgm:cxn modelId="{6B7BD185-3558-7640-B604-34855655EFEF}" type="presParOf" srcId="{AB306E7F-BBFE-4840-97DE-4860B97247CD}" destId="{0533F1AC-E484-2A4A-87E0-4742A07FFE2C}" srcOrd="5" destOrd="0" presId="urn:microsoft.com/office/officeart/2005/8/layout/hChevron3"/>
    <dgm:cxn modelId="{D119BBE3-A07C-C14E-B21C-1D5467E28D9F}" type="presParOf" srcId="{AB306E7F-BBFE-4840-97DE-4860B97247CD}" destId="{182A42C9-E9CF-A141-834A-3F05F838D1A7}" srcOrd="6" destOrd="0" presId="urn:microsoft.com/office/officeart/2005/8/layout/hChevron3"/>
  </dgm:cxnLst>
  <dgm:bg>
    <a:noFill/>
  </dgm:bg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826503-FF9C-6249-9C5E-E871F59DF66E}">
      <dsp:nvSpPr>
        <dsp:cNvPr id="0" name=""/>
        <dsp:cNvSpPr/>
      </dsp:nvSpPr>
      <dsp:spPr>
        <a:xfrm>
          <a:off x="3022" y="134138"/>
          <a:ext cx="3032979" cy="2426383"/>
        </a:xfrm>
        <a:prstGeom prst="homePlate">
          <a:avLst>
            <a:gd name="adj" fmla="val 25000"/>
          </a:avLst>
        </a:prstGeom>
        <a:solidFill>
          <a:schemeClr val="accent1"/>
        </a:solidFill>
        <a:ln w="50800">
          <a:solidFill>
            <a:schemeClr val="bg1"/>
          </a:solidFill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6000" tIns="180000" rIns="42798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Frutiger LT Com 65 Bold" panose="020B0803030504020204" pitchFamily="34" charset="0"/>
            </a:rPr>
            <a:t>2020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10: Inaugural workshop </a:t>
          </a:r>
        </a:p>
        <a:p>
          <a:pPr marL="180975" lvl="1" indent="-180975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12: Meeting</a:t>
          </a:r>
        </a:p>
      </dsp:txBody>
      <dsp:txXfrm>
        <a:off x="3022" y="134138"/>
        <a:ext cx="2729681" cy="2426383"/>
      </dsp:txXfrm>
    </dsp:sp>
    <dsp:sp modelId="{CE4FB90A-23D3-624D-9472-058615351CBF}">
      <dsp:nvSpPr>
        <dsp:cNvPr id="0" name=""/>
        <dsp:cNvSpPr/>
      </dsp:nvSpPr>
      <dsp:spPr>
        <a:xfrm>
          <a:off x="2430850" y="134138"/>
          <a:ext cx="3032979" cy="2426383"/>
        </a:xfrm>
        <a:prstGeom prst="chevron">
          <a:avLst>
            <a:gd name="adj" fmla="val 25000"/>
          </a:avLst>
        </a:prstGeom>
        <a:solidFill>
          <a:schemeClr val="accent2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997" tIns="180000" rIns="10699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Frutiger LT Com 65 Bold" panose="020B0803030504020204" pitchFamily="34" charset="0"/>
            </a:rPr>
            <a:t>2021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03: LMIC meeting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04: Review 1 &amp; meeting 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09: Review 2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11: Meeting</a:t>
          </a:r>
        </a:p>
      </dsp:txBody>
      <dsp:txXfrm>
        <a:off x="3037446" y="134138"/>
        <a:ext cx="1819787" cy="2426383"/>
      </dsp:txXfrm>
    </dsp:sp>
    <dsp:sp modelId="{06E132D3-40E2-204E-AF8C-A0D9B0AEDE48}">
      <dsp:nvSpPr>
        <dsp:cNvPr id="0" name=""/>
        <dsp:cNvSpPr/>
      </dsp:nvSpPr>
      <dsp:spPr>
        <a:xfrm>
          <a:off x="4860691" y="134138"/>
          <a:ext cx="3032979" cy="2426383"/>
        </a:xfrm>
        <a:prstGeom prst="chevron">
          <a:avLst>
            <a:gd name="adj" fmla="val 25000"/>
          </a:avLst>
        </a:prstGeom>
        <a:solidFill>
          <a:schemeClr val="accent4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5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997" tIns="180000" rIns="10699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>
              <a:latin typeface="Frutiger LT Com 65 Bold" panose="020B0803030504020204" pitchFamily="34" charset="0"/>
            </a:rPr>
            <a:t>2022</a:t>
          </a:r>
          <a:endParaRPr lang="en-US" sz="1400" kern="1200"/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09: WHO clearance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10: Meeting “future priorities”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10/11: Follow up meetings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kern="1200">
            <a:solidFill>
              <a:schemeClr val="bg1"/>
            </a:solidFill>
          </a:endParaRPr>
        </a:p>
      </dsp:txBody>
      <dsp:txXfrm>
        <a:off x="5467287" y="134138"/>
        <a:ext cx="1819787" cy="2426383"/>
      </dsp:txXfrm>
    </dsp:sp>
    <dsp:sp modelId="{182A42C9-E9CF-A141-834A-3F05F838D1A7}">
      <dsp:nvSpPr>
        <dsp:cNvPr id="0" name=""/>
        <dsp:cNvSpPr/>
      </dsp:nvSpPr>
      <dsp:spPr>
        <a:xfrm>
          <a:off x="7285197" y="134138"/>
          <a:ext cx="3032979" cy="2426383"/>
        </a:xfrm>
        <a:prstGeom prst="chevron">
          <a:avLst>
            <a:gd name="adj" fmla="val 25000"/>
          </a:avLst>
        </a:prstGeom>
        <a:solidFill>
          <a:schemeClr val="accent5"/>
        </a:solidFill>
        <a:ln w="50800">
          <a:solidFill>
            <a:schemeClr val="bg1"/>
          </a:solidFill>
        </a:ln>
        <a:effectLst/>
      </dsp:spPr>
      <dsp:style>
        <a:lnRef idx="0">
          <a:schemeClr val="lt1">
            <a:hueOff val="0"/>
            <a:satOff val="0"/>
            <a:lumOff val="0"/>
            <a:alphaOff val="0"/>
          </a:schemeClr>
        </a:lnRef>
        <a:fillRef idx="3">
          <a:schemeClr val="accent3">
            <a:hueOff val="0"/>
            <a:satOff val="0"/>
            <a:lumOff val="0"/>
            <a:alphaOff val="0"/>
          </a:schemeClr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997" tIns="180000" rIns="106997" bIns="35560" numCol="1" spcCol="1270" anchor="t" anchorCtr="0">
          <a:noAutofit/>
        </a:bodyPr>
        <a:lstStyle/>
        <a:p>
          <a:pPr marL="0" lvl="0" indent="0" algn="l" defTabSz="622300">
            <a:lnSpc>
              <a:spcPct val="11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b="1" kern="1200"/>
            <a:t>2023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>
              <a:solidFill>
                <a:schemeClr val="bg1"/>
              </a:solidFill>
            </a:rPr>
            <a:t>02/03: ITU approval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r>
            <a:rPr lang="en-US" sz="1400" kern="1200" dirty="0">
              <a:solidFill>
                <a:schemeClr val="bg1"/>
              </a:solidFill>
            </a:rPr>
            <a:t>Publications (ITU/WHO)</a:t>
          </a:r>
        </a:p>
        <a:p>
          <a:pPr marL="180000" lvl="1" indent="-180000" algn="l" defTabSz="622300">
            <a:lnSpc>
              <a:spcPct val="110000"/>
            </a:lnSpc>
            <a:spcBef>
              <a:spcPct val="0"/>
            </a:spcBef>
            <a:spcAft>
              <a:spcPct val="15000"/>
            </a:spcAft>
            <a:buClr>
              <a:schemeClr val="bg1"/>
            </a:buClr>
            <a:buSzPct val="100000"/>
            <a:buFont typeface="Wingdings" panose="05000000000000000000" pitchFamily="2" charset="2"/>
            <a:buChar char="§"/>
            <a:tabLst/>
          </a:pPr>
          <a:endParaRPr lang="en-US" sz="1400" kern="1200">
            <a:solidFill>
              <a:schemeClr val="bg1"/>
            </a:solidFill>
          </a:endParaRPr>
        </a:p>
      </dsp:txBody>
      <dsp:txXfrm>
        <a:off x="7891793" y="134138"/>
        <a:ext cx="1819787" cy="2426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455738" y="1143000"/>
            <a:ext cx="3946525" cy="22193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629F0A-9DE2-44AB-9A84-CC28BAF7B39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77271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3808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836283"/>
            <a:ext cx="5916612" cy="3148592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0983B20-CF3E-4EB7-8ABD-887696F49A4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758628-A8B7-4C0C-9D76-AB8C3683620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93D0D8-808F-4B9D-9E74-3D2864287D2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2619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309058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02996"/>
            <a:ext cx="5916612" cy="2981879"/>
          </a:xfrm>
          <a:gradFill flip="none" rotWithShape="1">
            <a:gsLst>
              <a:gs pos="34000">
                <a:srgbClr val="1D7790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8778D-8BC8-464B-A800-1D1791A3726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5260CBB-BBBF-4BD2-A2B2-E16FB43BCE8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9F131B-2B68-425B-8FFF-8D359E0D5D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57219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643910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75388" y="2974270"/>
            <a:ext cx="5916612" cy="3010605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2640"/>
              </a:lnSpc>
              <a:spcAft>
                <a:spcPts val="120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184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br>
              <a:rPr lang="de-DE" dirty="0"/>
            </a:br>
            <a:r>
              <a:rPr lang="de-DE" dirty="0"/>
              <a:t>max. 3 Zeilen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64FAF97-8E98-4493-977E-6FEDC5291BD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90CB561-9F99-4288-90CE-88D602D52C2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4596121-908B-4B59-963A-E95F7A86847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4866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kleine Headline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153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038390"/>
            <a:ext cx="5916612" cy="2946485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4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2800"/>
              </a:lnSpc>
              <a:spcAft>
                <a:spcPts val="480"/>
              </a:spcAft>
              <a:defRPr sz="312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24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lang="de-DE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klein, Frutiger LT </a:t>
            </a:r>
            <a:r>
              <a:rPr lang="de-DE" dirty="0" err="1"/>
              <a:t>Com</a:t>
            </a:r>
            <a:r>
              <a:rPr lang="de-DE" dirty="0"/>
              <a:t> Light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r>
              <a:rPr lang="de-DE" dirty="0"/>
              <a:t> </a:t>
            </a:r>
            <a:r>
              <a:rPr lang="de-DE" dirty="0" err="1"/>
              <a:t>dolor</a:t>
            </a:r>
            <a:r>
              <a:rPr lang="de-DE" dirty="0"/>
              <a:t> </a:t>
            </a:r>
            <a:r>
              <a:rPr lang="de-DE" dirty="0" err="1"/>
              <a:t>sit</a:t>
            </a:r>
            <a:r>
              <a:rPr lang="de-DE" dirty="0"/>
              <a:t> </a:t>
            </a:r>
            <a:r>
              <a:rPr lang="de-DE" dirty="0" err="1"/>
              <a:t>arem</a:t>
            </a:r>
            <a:r>
              <a:rPr lang="de-DE" dirty="0"/>
              <a:t> max. 3 Zeilen</a:t>
            </a:r>
          </a:p>
          <a:p>
            <a:pPr marL="0" lvl="3" indent="0" algn="l" defTabSz="914400" rtl="0" eaLnBrk="1" latinLnBrk="0" hangingPunct="1">
              <a:lnSpc>
                <a:spcPts val="1840"/>
              </a:lnSpc>
              <a:spcBef>
                <a:spcPts val="184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None/>
            </a:pPr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26C9846-D78A-41C2-B9DE-AAB4647AB0B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D8AD9C8-2824-4897-945F-4A8A1D2456E1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C1209F8-6861-41DE-A5C0-5C8F5AB393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4685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5440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0" y="2524025"/>
            <a:ext cx="7824783" cy="2981879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B5719AE-30B8-45EA-B80C-409CF4F2B2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3BC588A-DC32-4D84-AD10-E7DF3D9A9CD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2CB5C3E-E47D-427A-AA11-CB39E0BAF28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0044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Co-Brandi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95872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2357312"/>
            <a:ext cx="7824787" cy="3148592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486000" tIns="360000" rIns="360000" bIns="36000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A4204C2-4248-49B0-B888-AEDE5C87E88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0296C33-84D5-4891-A511-A73F2EF90ED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EDE090B-8EDC-46F6-A07B-49E25523BD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18757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un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0274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7C751A8B-7DD1-4C74-A6D8-AE2E6694A0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3490309"/>
            <a:ext cx="11712574" cy="2494566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B71DDCE-8584-473E-89A6-4E1C8FE4FEFE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F76422-6FC9-4F77-8DC2-9370AFAFE8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8BBD116-D531-4394-B940-E1E0CD4B016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4612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– große Headline ob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6599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-1" y="3323596"/>
            <a:ext cx="11712575" cy="2661279"/>
          </a:xfrm>
          <a:noFill/>
        </p:spPr>
        <p:txBody>
          <a:bodyPr wrap="square" lIns="486000" tIns="360000" rIns="360000" bIns="360000" anchor="b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208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32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 err="1"/>
              <a:t>Subline</a:t>
            </a:r>
            <a:r>
              <a:rPr lang="de-DE" dirty="0"/>
              <a:t>/Referent/Datum</a:t>
            </a:r>
          </a:p>
          <a:p>
            <a:pPr lvl="3"/>
            <a:r>
              <a:rPr lang="de-DE" dirty="0"/>
              <a:t>Referen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5C68886-21F8-4FFB-8201-7F0BA6565D6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4BD0276-DAC0-4256-A958-3D3DD10E633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5696E82-453E-4196-8BCD-BF982D264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7232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06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2192000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7878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Kapitelüberschrift, Frutiger LT </a:t>
            </a:r>
            <a:r>
              <a:rPr lang="de-DE" dirty="0" err="1"/>
              <a:t>Com</a:t>
            </a:r>
            <a:r>
              <a:rPr lang="de-DE" dirty="0"/>
              <a:t> </a:t>
            </a:r>
            <a:r>
              <a:rPr lang="de-DE" dirty="0" err="1"/>
              <a:t>Bold</a:t>
            </a:r>
            <a:r>
              <a:rPr lang="de-DE" dirty="0"/>
              <a:t>, 16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CA94CF4-7D7D-4A16-808E-9BB3F11A797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6BEEC3F-C136-4E04-8E02-6DF963A6E721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2" name="Copyright Fraunhofer">
            <a:extLst>
              <a:ext uri="{FF2B5EF4-FFF2-40B4-BE49-F238E27FC236}">
                <a16:creationId xmlns:a16="http://schemas.microsoft.com/office/drawing/2014/main" id="{86A8951A-7642-4D31-B686-A714C8CCF5F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9DE5828C-86B5-43E8-99E0-320BB3D4C7F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475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ild 2/3 randabfa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05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6794500" cy="4457904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2176723"/>
          </a:xfr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20"/>
              </a:lnSpc>
              <a:spcAft>
                <a:spcPts val="160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Zahl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Kapitelüberschrift, Frutiger LT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Com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Bold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, 16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rutiger LT Com 65 Bold" panose="020B0803030504020204" pitchFamily="34" charset="0"/>
                <a:ea typeface="+mn-ea"/>
                <a:cs typeface="+mn-cs"/>
              </a:rPr>
              <a:t>pt</a:t>
            </a:r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8CF3FD1A-1D27-41F1-9CA0-1DB93D823FF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2179119F-C342-4DBA-9211-F4375B7FF2D1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E2CAD830-41D2-49E6-9A6C-8B30840C615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31C2822D-ACBC-46C4-BC5F-37D1A4BC045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8349B4F5-3985-40FA-BB6F-4069C03E55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  <a:lvl2pPr>
              <a:defRPr sz="2400" b="1"/>
            </a:lvl2pPr>
            <a:lvl3pPr>
              <a:defRPr sz="2400" b="1"/>
            </a:lvl3pPr>
            <a:lvl4pPr>
              <a:defRPr sz="2400" b="1"/>
            </a:lvl4pPr>
            <a:lvl5pPr>
              <a:defRPr sz="2400" b="1"/>
            </a:lvl5pPr>
          </a:lstStyle>
          <a:p>
            <a:pPr lvl="0"/>
            <a:r>
              <a:rPr lang="de-DE" dirty="0" err="1"/>
              <a:t>Sub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5418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– Beschreibung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5B6287E-4A4F-4439-B422-A23539B2685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32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5B6287E-4A4F-4439-B422-A23539B268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>
            <a:extLst>
              <a:ext uri="{FF2B5EF4-FFF2-40B4-BE49-F238E27FC236}">
                <a16:creationId xmlns:a16="http://schemas.microsoft.com/office/drawing/2014/main" id="{43168385-808A-40CF-ACBB-25E2FEB39C9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9424" y="1700213"/>
            <a:ext cx="6315075" cy="4284662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9FA541-8597-4991-9A2A-D86D39840E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75388" y="3149600"/>
            <a:ext cx="5916612" cy="1622533"/>
          </a:xfrm>
          <a:gradFill flip="none" rotWithShape="1">
            <a:gsLst>
              <a:gs pos="34000">
                <a:srgbClr val="1C768F">
                  <a:alpha val="94902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360000" tIns="360000" rIns="360000" bIns="360000"/>
          <a:lstStyle>
            <a:lvl1pPr>
              <a:lnSpc>
                <a:spcPct val="110000"/>
              </a:lnSpc>
              <a:spcAft>
                <a:spcPts val="0"/>
              </a:spcAft>
              <a:defRPr sz="2000" b="1">
                <a:solidFill>
                  <a:schemeClr val="bg1"/>
                </a:solidFill>
              </a:defRPr>
            </a:lvl1pPr>
            <a:lvl2pPr>
              <a:lnSpc>
                <a:spcPts val="2420"/>
              </a:lnSpc>
              <a:spcAft>
                <a:spcPts val="0"/>
              </a:spcAft>
              <a:defRPr sz="28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defRPr sz="1600" b="0"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überschrift, Frutiger </a:t>
            </a:r>
            <a:r>
              <a:rPr lang="de-DE" dirty="0" err="1"/>
              <a:t>Bold</a:t>
            </a:r>
            <a:r>
              <a:rPr lang="de-DE" dirty="0"/>
              <a:t> 20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utiger LT </a:t>
            </a:r>
            <a:r>
              <a:rPr lang="de-DE" dirty="0" err="1"/>
              <a:t>Com</a:t>
            </a:r>
            <a:r>
              <a:rPr lang="de-DE" dirty="0"/>
              <a:t> Light 16 </a:t>
            </a:r>
            <a:r>
              <a:rPr lang="de-DE" dirty="0" err="1"/>
              <a:t>pt</a:t>
            </a:r>
            <a:r>
              <a:rPr lang="de-DE" dirty="0"/>
              <a:t> 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EB97AB-0648-4C20-81AF-315192BBB0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57475347-60C7-4275-87BB-E0A043A5396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FC469E6C-F598-4F80-AB6C-46A0783E2A2E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262368A1-9617-47E7-A038-2429D810911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7CAF98EC-E908-46DA-A386-F0D4232D418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1600B162-5CE1-4081-9F76-7824B5C1719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 b="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9810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1F8DCC3F-E343-4E3F-B16A-B6051F15F18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5" b="18610"/>
          <a:stretch/>
        </p:blipFill>
        <p:spPr>
          <a:xfrm>
            <a:off x="0" y="1"/>
            <a:ext cx="12192000" cy="6151957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6657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3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F75AC2F-D644-43D9-B982-47D14AE50663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E4F662B-8B67-467B-B579-81B65A21735B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09CF1CB-7C21-4B1B-8641-DD8AC9A83CB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0AB71B0-9D5B-4CFF-97F3-7D9E421F2D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63617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mit Beschreibun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244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>
            <a:extLst>
              <a:ext uri="{FF2B5EF4-FFF2-40B4-BE49-F238E27FC236}">
                <a16:creationId xmlns:a16="http://schemas.microsoft.com/office/drawing/2014/main" id="{0EB8D40A-176A-4C73-94E8-E4F599039B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158116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8198" y="1999174"/>
            <a:ext cx="7346585" cy="1731243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1pPr>
            <a:lvl2pPr>
              <a:lnSpc>
                <a:spcPts val="3200"/>
              </a:lnSpc>
              <a:spcAft>
                <a:spcPts val="640"/>
              </a:spcAft>
              <a:defRPr sz="4160" b="1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0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apitelnummer 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Headline groß, Frutiger LT </a:t>
            </a:r>
            <a:r>
              <a:rPr lang="de-DE" dirty="0" err="1"/>
              <a:t>Com</a:t>
            </a:r>
            <a:r>
              <a:rPr lang="de-DE" dirty="0"/>
              <a:t> Light, </a:t>
            </a:r>
            <a:br>
              <a:rPr lang="de-DE" dirty="0"/>
            </a:br>
            <a:r>
              <a:rPr lang="de-DE" dirty="0"/>
              <a:t>32 </a:t>
            </a:r>
            <a:r>
              <a:rPr lang="de-DE" dirty="0" err="1"/>
              <a:t>pt</a:t>
            </a:r>
            <a:r>
              <a:rPr lang="de-DE" dirty="0"/>
              <a:t>,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2AD05C7-382B-438D-B349-2F1CC8C2BCC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78088260-380C-400E-94F1-80576C9596AC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6" name="Copyright Fraunhofer">
            <a:extLst>
              <a:ext uri="{FF2B5EF4-FFF2-40B4-BE49-F238E27FC236}">
                <a16:creationId xmlns:a16="http://schemas.microsoft.com/office/drawing/2014/main" id="{F4113842-5E3F-4997-8349-B76EB457E5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3428535-A26E-4A75-A2D0-95960DB6BCF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2577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2164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DDBBD9DA-78F9-4E62-A16F-A3EAEE483A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AC2951-09AD-4688-B783-DAE1ADDED63E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9" name="Copyright Fraunhofer">
            <a:extLst>
              <a:ext uri="{FF2B5EF4-FFF2-40B4-BE49-F238E27FC236}">
                <a16:creationId xmlns:a16="http://schemas.microsoft.com/office/drawing/2014/main" id="{68024DD5-D614-4E40-8330-76F9312A0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54063AB9-A95E-44E6-BF4C-CF29833128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94FD133-02A3-4CCE-886B-5D61839C1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A89D932-8DCF-4ABE-8120-3CC2C601E5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7715D3E-BD63-49BD-96CA-087D6CFC2D2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75388" y="1703388"/>
            <a:ext cx="5437187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99151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9BFEDD4-0A61-4DAA-847E-5542C0836B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7003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9BFEDD4-0A61-4DAA-847E-5542C0836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5A3A3249-3413-4CB5-A695-6373FE349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225054-8F4D-4B67-8803-E473E83FD8A6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97173DEC-80BC-41B9-97B7-7718E8E275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3BA71267-E3FD-4A93-BE1B-8DD361058A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41153CC-8B9B-4F23-A87D-CDC7D540D2D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5AAA71AE-8A22-4F1C-8598-F96615B924D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F587FD1-7E1D-43C5-AEEB-11FB82BEE6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32288" y="1703388"/>
            <a:ext cx="3492500" cy="2640595"/>
          </a:xfrm>
        </p:spPr>
        <p:txBody>
          <a:bodyPr/>
          <a:lstStyle>
            <a:lvl9pPr>
              <a:buAutoNum type="arabicPeriod"/>
              <a:defRPr/>
            </a:lvl9pPr>
          </a:lstStyle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D288D47-B1E2-4566-B8EC-6D108A69525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20075" y="1703388"/>
            <a:ext cx="3492500" cy="274002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6939595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4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C7AF347-EE19-4A49-ACB3-3F7316F7E1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8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C7AF347-EE19-4A49-ACB3-3F7316F7E1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61F0DBA5-C1B0-44DC-A359-F53055D10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2B3568-9F39-45BA-8ABC-B5488CC74074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3" name="Copyright Fraunhofer">
            <a:extLst>
              <a:ext uri="{FF2B5EF4-FFF2-40B4-BE49-F238E27FC236}">
                <a16:creationId xmlns:a16="http://schemas.microsoft.com/office/drawing/2014/main" id="{3A411D1E-2AF9-4CC5-AEC7-0C6DF157F5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4828F296-FF06-4CDF-A47F-F729AA31C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8C0110F-2625-4571-AE19-B8D78EAA1F9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9EF34A9-6B75-4492-8A12-35A87E55C8A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2520950" cy="2932112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E310D88-98AF-4753-BFFB-0D7937A972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395663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CBED3F47-FB9A-471A-8A6D-C6AC2320A9A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75388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4C0EBAA-DEB8-42ED-9FF0-97A1433AEB5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91625" y="1703388"/>
            <a:ext cx="2520950" cy="2911438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26019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pos="2139">
          <p15:clr>
            <a:srgbClr val="FBAE40"/>
          </p15:clr>
        </p15:guide>
        <p15:guide id="4" pos="1890">
          <p15:clr>
            <a:srgbClr val="FBAE40"/>
          </p15:clr>
        </p15:guide>
        <p15:guide id="5" pos="5541">
          <p15:clr>
            <a:srgbClr val="FBAE40"/>
          </p15:clr>
        </p15:guide>
        <p15:guide id="6" pos="579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3CE2A8B-DF0C-4ED8-B188-C82210FB66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24408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3CE2A8B-DF0C-4ED8-B188-C82210FB66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2593715C-3DC0-4E6F-AC38-9875A9DF0C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75388" y="0"/>
            <a:ext cx="5916612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EB5820C-E708-4B83-B2D5-A17747D22EE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047F9E9-11D7-474D-A6DA-3492ADD97332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D2144230-B8EC-476B-931A-D0CD27889EE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A1FBFD26-99E1-4A8F-A74A-F6ADF2E2D81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16DB4C6-EB43-4DAF-85FB-3D5502FB73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5437188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238F142-8C02-4935-B629-B6251A26C16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5437188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4FD108-BE77-4119-8953-7B3B60E98A0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5437188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86579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3 Spalten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3ED57BE-37A9-4D96-8E88-2396C11862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807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3ED57BE-37A9-4D96-8E88-2396C11862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Bildplatzhalter 6">
            <a:extLst>
              <a:ext uri="{FF2B5EF4-FFF2-40B4-BE49-F238E27FC236}">
                <a16:creationId xmlns:a16="http://schemas.microsoft.com/office/drawing/2014/main" id="{61458B9F-36A1-41C9-BED5-48660CBF7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20075" y="0"/>
            <a:ext cx="3971925" cy="6158116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A55FE10-1600-4EC9-BD53-2AD0F1FF5A23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B09DD79-ED55-4B70-88EA-06391A367C88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1" name="Copyright Fraunhofer">
            <a:extLst>
              <a:ext uri="{FF2B5EF4-FFF2-40B4-BE49-F238E27FC236}">
                <a16:creationId xmlns:a16="http://schemas.microsoft.com/office/drawing/2014/main" id="{3F46C379-14E1-4C3E-81B3-2514BD91D65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1983DEDE-C1BC-4CFF-B990-BF9CE174A58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3CF28B4-14C0-46CF-91E6-E56862CBC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395588"/>
            <a:ext cx="7345363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E1F331-B496-4BC0-8505-F35F3C57A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778321"/>
            <a:ext cx="7345363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B813626-B371-440A-B685-32C75971336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8199" y="1703388"/>
            <a:ext cx="3492500" cy="264059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E2D2D81B-2964-4DEB-9973-66C95A1B000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32288" y="1703388"/>
            <a:ext cx="3492500" cy="2619375"/>
          </a:xfrm>
        </p:spPr>
        <p:txBody>
          <a:bodyPr/>
          <a:lstStyle/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809422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29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160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A82B2D-840F-4167-AD44-C02BC9C87CCB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264059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 noProof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731617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1 Spalte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242AEA7-0D8C-4AD8-8EEC-63FF8206F7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1443C-B870-41CA-8630-426F79C7DA41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8" name="Copyright Fraunhofer">
            <a:extLst>
              <a:ext uri="{FF2B5EF4-FFF2-40B4-BE49-F238E27FC236}">
                <a16:creationId xmlns:a16="http://schemas.microsoft.com/office/drawing/2014/main" id="{3BFD0A8D-1DCE-43F0-A5E3-4221FF17E8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680CF9D-E06C-44A3-9743-D9D200F41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778321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85573968-5EC4-45D8-B356-9D2C25D2EC6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199" y="1703388"/>
            <a:ext cx="11233150" cy="3020314"/>
          </a:xfrm>
        </p:spPr>
        <p:txBody>
          <a:bodyPr/>
          <a:lstStyle>
            <a:lvl1pPr>
              <a:spcAft>
                <a:spcPts val="2200"/>
              </a:spcAft>
              <a:defRPr sz="1800"/>
            </a:lvl1pPr>
            <a:lvl2pPr>
              <a:spcAft>
                <a:spcPts val="2200"/>
              </a:spcAft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7051273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klein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918883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2640595"/>
          </a:xfrm>
        </p:spPr>
        <p:txBody>
          <a:bodyPr numCol="1" spcCol="360000"/>
          <a:lstStyle>
            <a:lvl5pPr>
              <a:defRPr/>
            </a:lvl5pPr>
            <a:lvl8pPr>
              <a:buAutoNum type="arabicPeriod"/>
              <a:defRPr/>
            </a:lvl8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7A80A6E1-2019-439E-8E86-0046D913F8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ED9D36A6-A034-4164-BBE1-F8AE84912B9F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F3CF5D9C-18A9-4FD1-BF61-90B1DF40DAE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2C7C1689-11E8-41AB-9458-DE44740E236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39AB49C-1F4E-4EF1-AAF8-5D9B08CE018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02979DCD-35B3-46F6-8E1A-F75179508D3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437187" cy="2640595"/>
          </a:xfrm>
        </p:spPr>
        <p:txBody>
          <a:bodyPr numCol="1"/>
          <a:lstStyle/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2056456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| große 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2174C6A4-3B89-4478-A08C-B54D082B38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443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2174C6A4-3B89-4478-A08C-B54D082B38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728811"/>
            <a:ext cx="11233150" cy="382733"/>
          </a:xfrm>
        </p:spPr>
        <p:txBody>
          <a:bodyPr vert="horz"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700213"/>
            <a:ext cx="5437188" cy="3085204"/>
          </a:xfrm>
        </p:spPr>
        <p:txBody>
          <a:bodyPr numCol="1" spcCol="360000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buAutoNum type="arabicPeriod"/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A318EBD9-F5F5-405C-9B19-55E93DB7BE18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6BBE7333-2DF4-417D-84A6-4C1EC6024486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A65BD112-D0DA-4A2E-BD97-424BCF96C46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38D657B-7546-4822-9986-D7784748709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9B913C0-DAEC-4E03-BE28-C93BE7F200C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9425" y="417600"/>
            <a:ext cx="11233150" cy="318933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ADDDE3BD-D7C5-4F7F-8E5F-2F194BD44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5388" y="1700213"/>
            <a:ext cx="5516562" cy="3020314"/>
          </a:xfrm>
        </p:spPr>
        <p:txBody>
          <a:bodyPr numCol="1"/>
          <a:lstStyle>
            <a:lvl1pPr>
              <a:lnSpc>
                <a:spcPct val="110000"/>
              </a:lnSpc>
              <a:spcAft>
                <a:spcPts val="2200"/>
              </a:spcAft>
              <a:defRPr sz="1800"/>
            </a:lvl1pPr>
            <a:lvl2pPr>
              <a:lnSpc>
                <a:spcPct val="110000"/>
              </a:lnSpc>
              <a:spcAft>
                <a:spcPts val="2200"/>
              </a:spcAft>
              <a:defRPr sz="1600"/>
            </a:lvl2pPr>
            <a:lvl3pPr>
              <a:lnSpc>
                <a:spcPct val="110000"/>
              </a:lnSpc>
              <a:defRPr sz="1600"/>
            </a:lvl3pPr>
            <a:lvl4pPr>
              <a:lnSpc>
                <a:spcPct val="110000"/>
              </a:lnSpc>
              <a:defRPr sz="1600"/>
            </a:lvl4pPr>
            <a:lvl5pPr>
              <a:lnSpc>
                <a:spcPct val="110000"/>
              </a:lnSpc>
              <a:defRPr sz="1600"/>
            </a:lvl5pPr>
            <a:lvl6pPr>
              <a:lnSpc>
                <a:spcPct val="110000"/>
              </a:lnSpc>
              <a:defRPr sz="1600"/>
            </a:lvl6pPr>
            <a:lvl7pPr>
              <a:lnSpc>
                <a:spcPct val="110000"/>
              </a:lnSpc>
              <a:defRPr sz="1600"/>
            </a:lvl7pPr>
            <a:lvl8pPr>
              <a:lnSpc>
                <a:spcPct val="110000"/>
              </a:lnSpc>
              <a:defRPr sz="1600"/>
            </a:lvl8pPr>
            <a:lvl9pPr>
              <a:lnSpc>
                <a:spcPct val="110000"/>
              </a:lnSpc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6519641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– 2 Spalten mit Info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DC8D38B-C18B-45D1-977E-43D6AADFE7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2209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DC8D38B-C18B-45D1-977E-43D6AADFE7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6B3DBCD-172B-459C-8C97-521B96028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700213"/>
            <a:ext cx="5916613" cy="4284662"/>
          </a:xfrm>
          <a:gradFill flip="none" rotWithShape="1">
            <a:gsLst>
              <a:gs pos="34000">
                <a:srgbClr val="1E7992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288000" rIns="288000" bIns="288000" numCol="1" spcCol="360000">
            <a:noAutofit/>
          </a:bodyPr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lnSpc>
                <a:spcPts val="1800"/>
              </a:lnSpc>
              <a:spcAft>
                <a:spcPts val="600"/>
              </a:spcAft>
              <a:defRPr sz="20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buClr>
                <a:schemeClr val="bg1"/>
              </a:buClr>
              <a:defRPr>
                <a:solidFill>
                  <a:schemeClr val="bg1"/>
                </a:solidFill>
              </a:defRPr>
            </a:lvl7pPr>
            <a:lvl8pPr>
              <a:buClr>
                <a:schemeClr val="bg1"/>
              </a:buClr>
              <a:buAutoNum type="arabicPeriod"/>
              <a:defRPr>
                <a:solidFill>
                  <a:schemeClr val="bg1"/>
                </a:solidFill>
              </a:defRPr>
            </a:lvl8pPr>
            <a:lvl9pPr>
              <a:buClr>
                <a:schemeClr val="bg1"/>
              </a:buCl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4F9B75C-F431-4271-A789-357B552F17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75388" y="1700213"/>
            <a:ext cx="5437187" cy="2777299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8" name="Datumsplatzhalter 7">
            <a:extLst>
              <a:ext uri="{FF2B5EF4-FFF2-40B4-BE49-F238E27FC236}">
                <a16:creationId xmlns:a16="http://schemas.microsoft.com/office/drawing/2014/main" id="{C7C33152-44C8-4D5F-8A14-F5A77C4509AD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D4E2D0BE-C1C0-4F7D-8CA3-1AB441DBDBE6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0" name="Copyright Fraunhofer">
            <a:extLst>
              <a:ext uri="{FF2B5EF4-FFF2-40B4-BE49-F238E27FC236}">
                <a16:creationId xmlns:a16="http://schemas.microsoft.com/office/drawing/2014/main" id="{E4293628-7C4E-4B40-9C44-4455388844A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82CBCEFF-ED55-43F4-840E-11635FF54F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870EAC44-6B23-48D7-9382-254ECE95C3B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79425" y="778321"/>
            <a:ext cx="11233150" cy="319318"/>
          </a:xfrm>
        </p:spPr>
        <p:txBody>
          <a:bodyPr/>
          <a:lstStyle>
            <a:lvl1pPr>
              <a:defRPr sz="20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dirty="0" err="1"/>
              <a:t>Subli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2923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18240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30FDEE22-4D74-4924-86C5-CF41B7A9F583}"/>
              </a:ext>
            </a:extLst>
          </p:cNvPr>
          <p:cNvSpPr/>
          <p:nvPr userDrawn="1"/>
        </p:nvSpPr>
        <p:spPr bwMode="gray">
          <a:xfrm>
            <a:off x="479425" y="1206230"/>
            <a:ext cx="473886" cy="87549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accent2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accent2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 b="0">
                <a:solidFill>
                  <a:schemeClr val="accent2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accent2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B30F5BB5-7863-4504-94A4-F39A72E20BF2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</p:grpSpPr>
        <p:sp>
          <p:nvSpPr>
            <p:cNvPr id="3" name="Pfeil: Chevron 2">
              <a:extLst>
                <a:ext uri="{FF2B5EF4-FFF2-40B4-BE49-F238E27FC236}">
                  <a16:creationId xmlns:a16="http://schemas.microsoft.com/office/drawing/2014/main" id="{80955E3B-8357-4836-8592-3039D01F1391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19" name="Pfeil: Chevron 18">
              <a:extLst>
                <a:ext uri="{FF2B5EF4-FFF2-40B4-BE49-F238E27FC236}">
                  <a16:creationId xmlns:a16="http://schemas.microsoft.com/office/drawing/2014/main" id="{8245CA0A-C731-43B3-A4D1-99935FA2DE2F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2285A88-12D6-4461-A4C7-1D177C10FE40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98C3B39-287A-4DC2-86D1-47762D2F829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A36F7860-0DEC-4D26-A4CA-9345FD18967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9720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BAB6549-3007-4962-B8D4-52ECE48231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574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BAB6549-3007-4962-B8D4-52ECE48231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CABC3893-E6D0-4680-9CDB-B7D76C158179}"/>
              </a:ext>
            </a:extLst>
          </p:cNvPr>
          <p:cNvCxnSpPr/>
          <p:nvPr userDrawn="1"/>
        </p:nvCxnSpPr>
        <p:spPr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Grafik 18">
            <a:extLst>
              <a:ext uri="{FF2B5EF4-FFF2-40B4-BE49-F238E27FC236}">
                <a16:creationId xmlns:a16="http://schemas.microsoft.com/office/drawing/2014/main" id="{A5AD49B5-73A6-4C2A-8588-DD0F894360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0015" b="18624"/>
          <a:stretch/>
        </p:blipFill>
        <p:spPr>
          <a:xfrm>
            <a:off x="0" y="2"/>
            <a:ext cx="12192000" cy="6150768"/>
          </a:xfrm>
          <a:prstGeom prst="rect">
            <a:avLst/>
          </a:prstGeom>
        </p:spPr>
      </p:pic>
      <p:sp>
        <p:nvSpPr>
          <p:cNvPr id="32" name="Textplatzhalter 31">
            <a:extLst>
              <a:ext uri="{FF2B5EF4-FFF2-40B4-BE49-F238E27FC236}">
                <a16:creationId xmlns:a16="http://schemas.microsoft.com/office/drawing/2014/main" id="{19260903-BB55-4E18-8A26-9490D566EE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826785"/>
            <a:ext cx="11233150" cy="1205330"/>
          </a:xfrm>
        </p:spPr>
        <p:txBody>
          <a:bodyPr/>
          <a:lstStyle>
            <a:lvl1pPr>
              <a:lnSpc>
                <a:spcPct val="110000"/>
              </a:lnSpc>
              <a:spcAft>
                <a:spcPts val="0"/>
              </a:spcAft>
              <a:defRPr sz="4400">
                <a:solidFill>
                  <a:schemeClr val="bg1"/>
                </a:solidFill>
                <a:latin typeface="Frutiger LT Com 65 Bold" panose="020B0803030504020204" pitchFamily="34" charset="0"/>
              </a:defRPr>
            </a:lvl1pPr>
            <a:lvl2pPr algn="r">
              <a:lnSpc>
                <a:spcPct val="110000"/>
              </a:lnSpc>
              <a:spcAft>
                <a:spcPts val="0"/>
              </a:spcAft>
              <a:defRPr sz="1400">
                <a:solidFill>
                  <a:schemeClr val="bg1"/>
                </a:solidFill>
                <a:latin typeface="+mj-lt"/>
              </a:defRPr>
            </a:lvl2pPr>
            <a:lvl3pPr algn="r">
              <a:lnSpc>
                <a:spcPct val="11000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n-lt"/>
              </a:defRPr>
            </a:lvl3pPr>
            <a:lvl4pPr marL="0" indent="0" algn="r">
              <a:lnSpc>
                <a:spcPct val="110000"/>
              </a:lnSpc>
              <a:buNone/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de-DE" dirty="0"/>
              <a:t>Zitat</a:t>
            </a:r>
          </a:p>
          <a:p>
            <a:pPr lvl="1"/>
            <a:r>
              <a:rPr lang="de-DE" dirty="0"/>
              <a:t>Name des Autors</a:t>
            </a:r>
          </a:p>
          <a:p>
            <a:pPr lvl="2"/>
            <a:r>
              <a:rPr lang="de-DE" dirty="0"/>
              <a:t>Positio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E2E23E-A04B-4A3C-9731-269F09B3618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9DE324B6-D7C2-429F-9563-54E4F47990AC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17" name="Copyright Fraunhofer">
            <a:extLst>
              <a:ext uri="{FF2B5EF4-FFF2-40B4-BE49-F238E27FC236}">
                <a16:creationId xmlns:a16="http://schemas.microsoft.com/office/drawing/2014/main" id="{7BF1A88B-92B6-448D-B293-70A607B2651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9320B56D-3BA0-4D7D-91B3-67F9A11E4A7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942B2AF3-B72B-4E51-98E8-276E33E081FB}"/>
              </a:ext>
            </a:extLst>
          </p:cNvPr>
          <p:cNvGrpSpPr/>
          <p:nvPr userDrawn="1"/>
        </p:nvGrpSpPr>
        <p:grpSpPr>
          <a:xfrm>
            <a:off x="621507" y="476249"/>
            <a:ext cx="1266824" cy="1028701"/>
            <a:chOff x="621507" y="476249"/>
            <a:chExt cx="1266824" cy="1028701"/>
          </a:xfrm>
          <a:solidFill>
            <a:schemeClr val="bg1"/>
          </a:solidFill>
        </p:grpSpPr>
        <p:sp>
          <p:nvSpPr>
            <p:cNvPr id="21" name="Pfeil: Chevron 20">
              <a:extLst>
                <a:ext uri="{FF2B5EF4-FFF2-40B4-BE49-F238E27FC236}">
                  <a16:creationId xmlns:a16="http://schemas.microsoft.com/office/drawing/2014/main" id="{A9E48764-AC81-446C-B62C-88A8F03B3803}"/>
                </a:ext>
              </a:extLst>
            </p:cNvPr>
            <p:cNvSpPr/>
            <p:nvPr userDrawn="1"/>
          </p:nvSpPr>
          <p:spPr>
            <a:xfrm>
              <a:off x="621507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  <p:sp>
          <p:nvSpPr>
            <p:cNvPr id="22" name="Pfeil: Chevron 21">
              <a:extLst>
                <a:ext uri="{FF2B5EF4-FFF2-40B4-BE49-F238E27FC236}">
                  <a16:creationId xmlns:a16="http://schemas.microsoft.com/office/drawing/2014/main" id="{14C3BCAC-351B-4AFA-8D18-F61D609E40E4}"/>
                </a:ext>
              </a:extLst>
            </p:cNvPr>
            <p:cNvSpPr/>
            <p:nvPr userDrawn="1"/>
          </p:nvSpPr>
          <p:spPr>
            <a:xfrm>
              <a:off x="1216819" y="476249"/>
              <a:ext cx="671512" cy="1028701"/>
            </a:xfrm>
            <a:prstGeom prst="chevron">
              <a:avLst>
                <a:gd name="adj" fmla="val 42908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108000" rIns="108000" bIns="108000" rtlCol="0" anchor="ctr"/>
            <a:lstStyle/>
            <a:p>
              <a:pPr marL="180000" indent="-180000" algn="l">
                <a:lnSpc>
                  <a:spcPts val="1960"/>
                </a:lnSpc>
                <a:buClr>
                  <a:schemeClr val="accent1"/>
                </a:buClr>
                <a:buFont typeface="Wingdings" panose="05000000000000000000" pitchFamily="2" charset="2"/>
                <a:buChar char="§"/>
              </a:pPr>
              <a:endParaRPr lang="en-US" sz="140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78679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vollfläch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86670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114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809F1F2-5AE7-4500-87D3-FAD916B3136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59D760A-5328-4251-ACFF-CB470EE3471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3FC189F-C42A-4071-BC47-28A29172D1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39119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 ha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307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B002FD9-AF19-4ED6-84E1-C634A79B2BA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4572000"/>
          </a:xfrm>
          <a:solidFill>
            <a:schemeClr val="bg2">
              <a:lumMod val="20000"/>
              <a:lumOff val="80000"/>
            </a:schemeClr>
          </a:solidFill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en-US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" y="2952020"/>
            <a:ext cx="5916612" cy="3388337"/>
          </a:xfrm>
          <a:gradFill flip="none" rotWithShape="1">
            <a:gsLst>
              <a:gs pos="34000">
                <a:srgbClr val="00779A"/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lIns="486000" tIns="360000" rIns="360000" bIns="36000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D3F48CE-72D6-4312-9E4E-63E50B50038E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83046E-333C-49E5-BC21-4B96362580A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1D6BEE77-0380-4FD0-A81C-71B6A50C651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63839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folie –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F197DE11-A966-449E-A5FD-31979AF345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t="10014" b="10419"/>
          <a:stretch/>
        </p:blipFill>
        <p:spPr>
          <a:xfrm>
            <a:off x="1" y="0"/>
            <a:ext cx="12192000" cy="6857999"/>
          </a:xfrm>
          <a:prstGeom prst="rect">
            <a:avLst/>
          </a:prstGeom>
        </p:spPr>
      </p:pic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3167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1700213"/>
            <a:ext cx="5916612" cy="3848489"/>
          </a:xfrm>
          <a:noFill/>
        </p:spPr>
        <p:txBody>
          <a:bodyPr lIns="0" tIns="0" rIns="0" bIns="0" anchor="t">
            <a:sp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32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3500"/>
              </a:lnSpc>
              <a:spcAft>
                <a:spcPts val="1600"/>
              </a:spcAft>
              <a:defRPr sz="416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ct val="110000"/>
              </a:lnSpc>
              <a:spcAft>
                <a:spcPts val="0"/>
              </a:spcAft>
              <a:defRPr sz="1600" b="0"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Kontak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Titel Vorname Name</a:t>
            </a:r>
          </a:p>
          <a:p>
            <a:pPr lvl="2"/>
            <a:r>
              <a:rPr lang="de-DE" dirty="0"/>
              <a:t>Geschäftsbereich XXX</a:t>
            </a:r>
          </a:p>
          <a:p>
            <a:pPr lvl="2"/>
            <a:r>
              <a:rPr lang="de-DE" dirty="0"/>
              <a:t>Tel. +49 12 3456-XXXX</a:t>
            </a:r>
          </a:p>
          <a:p>
            <a:pPr lvl="2"/>
            <a:r>
              <a:rPr lang="de-DE" dirty="0"/>
              <a:t>Fax +49 12 3456-XXXX</a:t>
            </a:r>
          </a:p>
          <a:p>
            <a:pPr lvl="2"/>
            <a:r>
              <a:rPr lang="de-DE" dirty="0"/>
              <a:t>vorname.name@fraunhofer.de</a:t>
            </a:r>
          </a:p>
          <a:p>
            <a:pPr lvl="3"/>
            <a:endParaRPr lang="pt-BR" dirty="0"/>
          </a:p>
          <a:p>
            <a:pPr lvl="3"/>
            <a:r>
              <a:rPr lang="pt-BR" dirty="0"/>
              <a:t>Fraunhofer XYZ</a:t>
            </a:r>
          </a:p>
          <a:p>
            <a:pPr lvl="3"/>
            <a:r>
              <a:rPr lang="pt-BR" dirty="0"/>
              <a:t>Straße XY</a:t>
            </a:r>
          </a:p>
          <a:p>
            <a:pPr lvl="3"/>
            <a:r>
              <a:rPr lang="pt-BR" dirty="0"/>
              <a:t>12345 Stadt</a:t>
            </a:r>
          </a:p>
          <a:p>
            <a:pPr lvl="3"/>
            <a:r>
              <a:rPr lang="pt-BR" dirty="0"/>
              <a:t>www.fraunhofer.d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A313C52-2525-4A5D-916B-98841273CAD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219F9CA-C990-4FAF-BBA2-C37D042E4FF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1B3BB0E-EF1D-44E5-9391-ED9E79F83DB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02969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FA62D198-8DCD-43B1-ADA0-82CB261CFE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2081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FA62D198-8DCD-43B1-ADA0-82CB261CFE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11F1A574-59A7-4800-855F-6C927C3EF9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AABB2FBB-BF9E-4D2C-8FD3-E83E6005233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9425" y="2255355"/>
            <a:ext cx="11233149" cy="2998000"/>
          </a:xfrm>
          <a:noFill/>
        </p:spPr>
        <p:txBody>
          <a:bodyPr wrap="square" lIns="0" tIns="0" rIns="0" bIns="0" anchor="t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6600" b="0">
                <a:solidFill>
                  <a:schemeClr val="bg1"/>
                </a:solidFill>
                <a:latin typeface="+mn-lt"/>
              </a:defRPr>
            </a:lvl1pPr>
            <a:lvl2pPr>
              <a:lnSpc>
                <a:spcPts val="7200"/>
              </a:lnSpc>
              <a:spcAft>
                <a:spcPts val="1600"/>
              </a:spcAft>
              <a:defRPr sz="8580" b="0">
                <a:solidFill>
                  <a:schemeClr val="bg1"/>
                </a:solidFill>
                <a:latin typeface="Frutiger LT Com 55 Roman" panose="020B0A03040504030204" pitchFamily="34" charset="0"/>
              </a:defRPr>
            </a:lvl2pPr>
            <a:lvl3pPr>
              <a:lnSpc>
                <a:spcPts val="2080"/>
              </a:lnSpc>
              <a:spcAft>
                <a:spcPts val="0"/>
              </a:spcAft>
              <a:defRPr>
                <a:solidFill>
                  <a:schemeClr val="bg1"/>
                </a:solidFill>
                <a:latin typeface="+mj-lt"/>
              </a:defRPr>
            </a:lvl3pPr>
            <a:lvl4pPr marL="0" indent="0">
              <a:lnSpc>
                <a:spcPts val="2080"/>
              </a:lnSpc>
              <a:spcBef>
                <a:spcPts val="2080"/>
              </a:spcBef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de-DE" dirty="0"/>
              <a:t>Vielen Dank für Ihre Aufmerksamkeit</a:t>
            </a:r>
          </a:p>
          <a:p>
            <a:pPr lvl="1"/>
            <a:r>
              <a:rPr lang="de-DE" dirty="0"/>
              <a:t>—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9614564-45F3-43F4-A781-81B474E1C11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388048" y="7027336"/>
            <a:ext cx="720000" cy="123111"/>
          </a:xfrm>
        </p:spPr>
        <p:txBody>
          <a:bodyPr/>
          <a:lstStyle/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B5AC9A-7737-4C1C-B583-AD4EA4DAE9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2297897" y="7027336"/>
            <a:ext cx="2952000" cy="123111"/>
          </a:xfrm>
        </p:spPr>
        <p:txBody>
          <a:bodyPr/>
          <a:lstStyle/>
          <a:p>
            <a:r>
              <a:rPr lang="de-DE" noProof="0"/>
              <a:t>© Fraunhofer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B5919D1C-ADAC-4933-80BD-01165FF9D27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479425" y="7027336"/>
            <a:ext cx="720000" cy="123111"/>
          </a:xfrm>
        </p:spPr>
        <p:txBody>
          <a:bodyPr/>
          <a:lstStyle/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224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4FD03EE8-A1F1-FB78-92A7-99900DE04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596B7E-0FA1-EF4D-B20C-8F16B542791B}" type="datetimeFigureOut">
              <a:rPr lang="de-DE" smtClean="0"/>
              <a:t>22.03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842605C-ACFC-9934-361E-729E646E02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74E60C3-18AD-06F0-6FC2-1B5FD3E82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69F7E6-4283-2B44-9DB6-377B2866B3F7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296091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8" Type="http://schemas.openxmlformats.org/officeDocument/2006/relationships/slideLayout" Target="../slideLayouts/slideLayout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3/3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507918F-B2AA-4A76-81D6-4E27E906E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2"/>
            </p:custDataLst>
            <p:extLst>
              <p:ext uri="{D42A27DB-BD31-4B8C-83A1-F6EECF244321}">
                <p14:modId xmlns:p14="http://schemas.microsoft.com/office/powerpoint/2010/main" val="2565214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44" imgH="345" progId="TCLayout.ActiveDocument.1">
                  <p:embed/>
                </p:oleObj>
              </mc:Choice>
              <mc:Fallback>
                <p:oleObj name="think-cell Folie" r:id="rId3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507918F-B2AA-4A76-81D6-4E27E906E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EA78C480-B66C-43DB-AAEB-3790EF5A766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de-DE" noProof="0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3ED48EE-75FC-48CE-8886-5B06675925EC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478199" y="1703388"/>
            <a:ext cx="11234376" cy="26405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noProof="0" dirty="0"/>
              <a:t>Mastertext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  <a:p>
            <a:pPr lvl="5"/>
            <a:r>
              <a:rPr lang="de-DE" noProof="0" dirty="0"/>
              <a:t>Sechste Ebene</a:t>
            </a:r>
          </a:p>
          <a:p>
            <a:pPr lvl="6"/>
            <a:r>
              <a:rPr lang="de-DE" noProof="0" dirty="0"/>
              <a:t>Siebte Ebene</a:t>
            </a:r>
          </a:p>
          <a:p>
            <a:pPr lvl="7"/>
            <a:r>
              <a:rPr lang="de-DE" noProof="0" dirty="0"/>
              <a:t>Achte Ebene</a:t>
            </a:r>
          </a:p>
          <a:p>
            <a:pPr lvl="8"/>
            <a:r>
              <a:rPr lang="de-DE" noProof="0" dirty="0"/>
              <a:t>Neunte Ebene</a:t>
            </a:r>
          </a:p>
        </p:txBody>
      </p:sp>
      <p:sp>
        <p:nvSpPr>
          <p:cNvPr id="4" name="Datumsplatzhalter">
            <a:extLst>
              <a:ext uri="{FF2B5EF4-FFF2-40B4-BE49-F238E27FC236}">
                <a16:creationId xmlns:a16="http://schemas.microsoft.com/office/drawing/2014/main" id="{F9CDF1F4-2065-4A60-8377-ED9014CA8CB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388048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18404E2F-0DC3-491D-BBFF-E567024868D0}" type="datetime1">
              <a:rPr lang="de-DE" noProof="0" smtClean="0"/>
              <a:t>22.03.2023</a:t>
            </a:fld>
            <a:endParaRPr lang="de-DE" noProof="0"/>
          </a:p>
        </p:txBody>
      </p:sp>
      <p:sp>
        <p:nvSpPr>
          <p:cNvPr id="5" name="Copyright Fraunhofer">
            <a:extLst>
              <a:ext uri="{FF2B5EF4-FFF2-40B4-BE49-F238E27FC236}">
                <a16:creationId xmlns:a16="http://schemas.microsoft.com/office/drawing/2014/main" id="{5FF3544A-E0F0-4101-A728-3DFB567F776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297897" y="6455836"/>
            <a:ext cx="2952000" cy="123111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noProof="0"/>
              <a:t>© Fraunhofer</a:t>
            </a:r>
          </a:p>
        </p:txBody>
      </p: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ED49F1F8-4B89-4B18-B579-CD843138501E}"/>
              </a:ext>
            </a:extLst>
          </p:cNvPr>
          <p:cNvCxnSpPr>
            <a:cxnSpLocks/>
          </p:cNvCxnSpPr>
          <p:nvPr userDrawn="1"/>
        </p:nvCxnSpPr>
        <p:spPr bwMode="gray">
          <a:xfrm>
            <a:off x="479425" y="1245411"/>
            <a:ext cx="360000" cy="0"/>
          </a:xfrm>
          <a:prstGeom prst="line">
            <a:avLst/>
          </a:prstGeom>
          <a:noFill/>
          <a:ln w="508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Gerader Verbinder 41">
            <a:extLst>
              <a:ext uri="{FF2B5EF4-FFF2-40B4-BE49-F238E27FC236}">
                <a16:creationId xmlns:a16="http://schemas.microsoft.com/office/drawing/2014/main" id="{86070D71-EE9E-4293-96A3-C2A0A07F7A62}"/>
              </a:ext>
            </a:extLst>
          </p:cNvPr>
          <p:cNvCxnSpPr/>
          <p:nvPr userDrawn="1"/>
        </p:nvCxnSpPr>
        <p:spPr bwMode="gray">
          <a:xfrm>
            <a:off x="0" y="6143625"/>
            <a:ext cx="12192000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3FFAE78-FC0D-4DC3-A58F-888E658BE2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79425" y="6455836"/>
            <a:ext cx="7200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de-DE" noProof="0"/>
              <a:t>Seite</a:t>
            </a:r>
            <a:r>
              <a:rPr lang="en-US"/>
              <a:t> </a:t>
            </a:r>
            <a:fld id="{401BA3E4-5E55-4F99-AF09-CC6D6B2539E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LogoFusszeile">
            <a:extLst>
              <a:ext uri="{FF2B5EF4-FFF2-40B4-BE49-F238E27FC236}">
                <a16:creationId xmlns:a16="http://schemas.microsoft.com/office/drawing/2014/main" id="{A1A14973-0D19-4698-859C-851A93B6A59A}"/>
              </a:ext>
            </a:extLst>
          </p:cNvPr>
          <p:cNvSpPr/>
          <p:nvPr userDrawn="1"/>
        </p:nvSpPr>
        <p:spPr>
          <a:xfrm>
            <a:off x="10309226" y="6334126"/>
            <a:ext cx="1404000" cy="37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108000" rIns="108000" bIns="108000" rtlCol="0" anchor="ctr"/>
          <a:lstStyle/>
          <a:p>
            <a:pPr marL="180000" indent="-180000" algn="l">
              <a:lnSpc>
                <a:spcPts val="1960"/>
              </a:lnSpc>
              <a:buClr>
                <a:schemeClr val="accent1"/>
              </a:buClr>
              <a:buFont typeface="Wingdings" panose="05000000000000000000" pitchFamily="2" charset="2"/>
              <a:buChar char="§"/>
            </a:pPr>
            <a:endParaRPr lang="en-US" sz="14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173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  <p:sldLayoutId id="2147483711" r:id="rId27"/>
    <p:sldLayoutId id="2147483712" r:id="rId28"/>
    <p:sldLayoutId id="2147483713" r:id="rId29"/>
    <p:sldLayoutId id="2147483714" r:id="rId30"/>
  </p:sldLayoutIdLst>
  <p:hf hdr="0"/>
  <p:txStyles>
    <p:titleStyle>
      <a:lvl1pPr algn="l" defTabSz="914400" rtl="0" eaLnBrk="1" latinLnBrk="0" hangingPunct="1">
        <a:lnSpc>
          <a:spcPct val="11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Frutiger LT Com 65 Bold" panose="020B080303050402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600" b="0" kern="1200">
          <a:solidFill>
            <a:schemeClr val="accent1"/>
          </a:solidFill>
          <a:latin typeface="+mj-lt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1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0" indent="0" algn="l" defTabSz="9144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None/>
        <a:defRPr sz="1400" b="0" kern="1200">
          <a:solidFill>
            <a:schemeClr val="tx1"/>
          </a:solidFill>
          <a:latin typeface="+mj-lt"/>
          <a:ea typeface="+mn-ea"/>
          <a:cs typeface="+mn-cs"/>
        </a:defRPr>
      </a:lvl3pPr>
      <a:lvl4pPr marL="18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6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accent1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432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648000" indent="-216000" algn="l" defTabSz="914400" rtl="0" eaLnBrk="1" latinLnBrk="0" hangingPunct="1">
        <a:lnSpc>
          <a:spcPct val="110000"/>
        </a:lnSpc>
        <a:spcBef>
          <a:spcPts val="0"/>
        </a:spcBef>
        <a:buClr>
          <a:schemeClr val="bg2"/>
        </a:buClr>
        <a:buFont typeface="+mj-lt"/>
        <a:buAutoNum type="arabicPeriod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02">
          <p15:clr>
            <a:srgbClr val="F26B43"/>
          </p15:clr>
        </p15:guide>
        <p15:guide id="2" pos="7378">
          <p15:clr>
            <a:srgbClr val="F26B43"/>
          </p15:clr>
        </p15:guide>
        <p15:guide id="3" orient="horz" pos="300">
          <p15:clr>
            <a:srgbClr val="F26B43"/>
          </p15:clr>
        </p15:guide>
        <p15:guide id="4" orient="horz" pos="4133">
          <p15:clr>
            <a:srgbClr val="F26B43"/>
          </p15:clr>
        </p15:guide>
        <p15:guide id="5" orient="horz" pos="3770">
          <p15:clr>
            <a:srgbClr val="F26B43"/>
          </p15:clr>
        </p15:guide>
        <p15:guide id="8" orient="horz" pos="107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eva.weicken@hhi.fraunhofer.de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8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oleObject" Target="../embeddings/oleObject39.bin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9.xml"/><Relationship Id="rId6" Type="http://schemas.openxmlformats.org/officeDocument/2006/relationships/image" Target="../media/image10.png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40.xml"/><Relationship Id="rId6" Type="http://schemas.openxmlformats.org/officeDocument/2006/relationships/image" Target="../media/image8.png"/><Relationship Id="rId5" Type="http://schemas.openxmlformats.org/officeDocument/2006/relationships/hyperlink" Target="https://fraunhofer-my.sharepoint.com/:w:/g/personal/eva_weicken_hhi_fraunhofer_de/EQCxeWPsEWJOtNlE9D-AelwBX6yaNYFAxZlCd2V8euKuKg?e=Jiw1aH&amp;wdLOR=c14407169-DAA3-CB47-AC23-2D7FC1117BFA" TargetMode="Externa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41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42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4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1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3.xml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oleObject" Target="../embeddings/oleObject34.bin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6.png"/><Relationship Id="rId4" Type="http://schemas.openxmlformats.org/officeDocument/2006/relationships/image" Target="../media/image1.emf"/><Relationship Id="rId9" Type="http://schemas.microsoft.com/office/2007/relationships/diagramDrawing" Target="../diagrams/drawing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5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7" Type="http://schemas.openxmlformats.org/officeDocument/2006/relationships/hyperlink" Target="https://extranet.itu.int/sites/itu-t/focusgroups/ai4h/docs/FGAI4H-Q-033.docx" TargetMode="Externa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36.xml"/><Relationship Id="rId6" Type="http://schemas.openxmlformats.org/officeDocument/2006/relationships/image" Target="../media/image6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7.xml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8802193" y="845674"/>
            <a:ext cx="19655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R-052-A02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7738248" y="1215006"/>
            <a:ext cx="302948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Cambridge, 21-24 March 2023</a:t>
            </a:r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073143"/>
              </p:ext>
            </p:extLst>
          </p:nvPr>
        </p:nvGraphicFramePr>
        <p:xfrm>
          <a:off x="1424267" y="3274055"/>
          <a:ext cx="9343465" cy="17145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7379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134249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4711837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itors DEL7.4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800" dirty="0"/>
                        <a:t>Att.2 – Presentation - </a:t>
                      </a:r>
                      <a:r>
                        <a:rPr lang="en-US" sz="1800" b="0" i="0" kern="120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7.4 update: 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evaluation of AI for health</a:t>
                      </a:r>
                      <a:endParaRPr lang="en-GB" sz="1800" dirty="0"/>
                    </a:p>
                  </a:txBody>
                  <a:tcPr marL="68580" marR="68580" marT="34290" marB="3429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solidFill>
                            <a:schemeClr val="tx1"/>
                          </a:solidFill>
                        </a:rPr>
                        <a:t>Eva Weicken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hlinkClick r:id="rId3">
                            <a:extLst>
                              <a:ext uri="{A12FA001-AC4F-418D-AE19-62706E023703}">
                                <ahyp:hlinkClr xmlns:ahyp="http://schemas.microsoft.com/office/drawing/2018/hyperlinkcolor" val="tx"/>
                              </a:ext>
                            </a:extLst>
                          </a:hlinkClick>
                        </a:rPr>
                        <a:t>eva.weicken@hhi.fraunhofer.de</a:t>
                      </a:r>
                      <a:r>
                        <a:rPr lang="en-GB" sz="1800" kern="1200" dirty="0">
                          <a:effectLst/>
                        </a:rPr>
                        <a:t> 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This PPT contains a presentation of: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lang="en-US" sz="1800" b="0" dirty="0">
                          <a:solidFill>
                            <a:schemeClr val="tx1"/>
                          </a:solidFill>
                        </a:rPr>
                        <a:t>an update on DEL 7.4 “</a:t>
                      </a:r>
                      <a:r>
                        <a:rPr lang="en-US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linical evaluation of AI for health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”</a:t>
                      </a:r>
                      <a:endParaRPr lang="en-GB" sz="1800" dirty="0"/>
                    </a:p>
                  </a:txBody>
                  <a:tcPr marL="68580" marR="68580" marT="34290" marB="3429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/>
          <a:p>
            <a:r>
              <a:rPr lang="de-DE" dirty="0"/>
              <a:t>Latest activities &amp; future direction</a:t>
            </a:r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3DF616-A766-47E8-B458-2967032C35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 dirty="0"/>
              <a:t>Overview</a:t>
            </a:r>
            <a:endParaRPr lang="en-US" dirty="0"/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E170BC20-4930-4506-8470-6F45AE77F7D2}"/>
              </a:ext>
            </a:extLst>
          </p:cNvPr>
          <p:cNvSpPr txBox="1">
            <a:spLocks/>
          </p:cNvSpPr>
          <p:nvPr/>
        </p:nvSpPr>
        <p:spPr bwMode="gray">
          <a:xfrm>
            <a:off x="479425" y="2057020"/>
            <a:ext cx="5437189" cy="2944011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5B7F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Latest activities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Publication through ITU &amp; WHO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Outreach &amp; communication, e.g., CAICT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llaboration, e.g., FIND</a:t>
            </a:r>
          </a:p>
          <a:p>
            <a:pPr marL="2857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Improvement &amp; </a:t>
            </a:r>
            <a:r>
              <a: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applicability</a:t>
            </a: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, e.g., Helsinki University/Karolinska Institute/ Uppsala University</a:t>
            </a:r>
          </a:p>
          <a:p>
            <a:pPr marL="285750" marR="0" lvl="1" indent="-28575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12" name="Textplatzhalter 6">
            <a:extLst>
              <a:ext uri="{FF2B5EF4-FFF2-40B4-BE49-F238E27FC236}">
                <a16:creationId xmlns:a16="http://schemas.microsoft.com/office/drawing/2014/main" id="{B31DC866-BE88-49AF-BF6B-6DE591AC1D07}"/>
              </a:ext>
            </a:extLst>
          </p:cNvPr>
          <p:cNvSpPr txBox="1">
            <a:spLocks/>
          </p:cNvSpPr>
          <p:nvPr/>
        </p:nvSpPr>
        <p:spPr bwMode="gray">
          <a:xfrm>
            <a:off x="6423798" y="2057020"/>
            <a:ext cx="5437189" cy="1238416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005B7F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Future direction</a:t>
            </a:r>
          </a:p>
          <a:p>
            <a:pPr marL="285750" marR="0" lvl="1" indent="-28575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Economic evaluation</a:t>
            </a:r>
          </a:p>
          <a:p>
            <a:pPr marL="285750" marR="0" lvl="1" indent="-28575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Applicability &amp; gaps for future research</a:t>
            </a:r>
          </a:p>
        </p:txBody>
      </p:sp>
      <p:pic>
        <p:nvPicPr>
          <p:cNvPr id="2" name="Google Shape;94;p18">
            <a:extLst>
              <a:ext uri="{FF2B5EF4-FFF2-40B4-BE49-F238E27FC236}">
                <a16:creationId xmlns:a16="http://schemas.microsoft.com/office/drawing/2014/main" id="{8D2E96D5-8BA8-0023-1D89-86D8E4F6549D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94307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Implementation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Topic group “point-of-care” University Helsinki &amp; Karolinska Institute &amp; Uppsala University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5515" y="4008462"/>
            <a:ext cx="11233150" cy="1832809"/>
          </a:xfrm>
        </p:spPr>
        <p:txBody>
          <a:bodyPr/>
          <a:lstStyle/>
          <a:p>
            <a:r>
              <a:rPr lang="en-US" sz="1800" dirty="0">
                <a:solidFill>
                  <a:schemeClr val="accent2"/>
                </a:solidFill>
              </a:rPr>
              <a:t>Aim &amp; purpose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600" dirty="0"/>
              <a:t>Testing applicability &amp; use framework in a clinical study  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600" dirty="0"/>
              <a:t>Study on cervix-cancer screening by digital microscopy in Kenya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600" dirty="0"/>
              <a:t>Development of a checklist for clinical evaluation based on the guidance</a:t>
            </a:r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 descr="Ein Bild, das Text, Person, Wand, Im Haus enthält.&#10;&#10;Automatisch generierte Beschreibung">
            <a:extLst>
              <a:ext uri="{FF2B5EF4-FFF2-40B4-BE49-F238E27FC236}">
                <a16:creationId xmlns:a16="http://schemas.microsoft.com/office/drawing/2014/main" id="{AEEEA99F-8D38-65EB-CE95-B0B195FB542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790219" y="1498372"/>
            <a:ext cx="2347113" cy="31464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 descr="Ein Bild, das Text, Baum, draußen, Pflanze enthält.&#10;&#10;Automatisch generierte Beschreibung">
            <a:extLst>
              <a:ext uri="{FF2B5EF4-FFF2-40B4-BE49-F238E27FC236}">
                <a16:creationId xmlns:a16="http://schemas.microsoft.com/office/drawing/2014/main" id="{929DDB23-EFA5-D963-9F1B-08C69820A8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953246" y="1498372"/>
            <a:ext cx="2597687" cy="2157008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9E485EF9-5CA2-5058-D948-A80EEE5B8DF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5515" y="1487877"/>
            <a:ext cx="4078445" cy="21675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95914DF5-B2F3-C2D4-C94B-BE434A5517CE}"/>
              </a:ext>
            </a:extLst>
          </p:cNvPr>
          <p:cNvSpPr txBox="1"/>
          <p:nvPr/>
        </p:nvSpPr>
        <p:spPr>
          <a:xfrm>
            <a:off x="8646289" y="4747221"/>
            <a:ext cx="1491043" cy="22179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ource: Nina Linder, TG-POC</a:t>
            </a:r>
          </a:p>
        </p:txBody>
      </p:sp>
    </p:spTree>
    <p:extLst>
      <p:ext uri="{BB962C8B-B14F-4D97-AF65-F5344CB8AC3E}">
        <p14:creationId xmlns:p14="http://schemas.microsoft.com/office/powerpoint/2010/main" val="7462284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Adaptation of the Checklist for clinical evaluation of AI for </a:t>
            </a:r>
            <a:r>
              <a:rPr lang="de-DE" dirty="0" err="1"/>
              <a:t>health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Example: POC for cervical cancer screening using AI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843996"/>
            <a:ext cx="11233150" cy="3545586"/>
          </a:xfrm>
        </p:spPr>
        <p:txBody>
          <a:bodyPr/>
          <a:lstStyle/>
          <a:p>
            <a:pPr marL="342900" indent="-342900">
              <a:buFont typeface="Wingdings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Our clinical projects within the </a:t>
            </a:r>
            <a:r>
              <a:rPr lang="en-US" sz="1800" dirty="0">
                <a:latin typeface="+mn-lt"/>
                <a:cs typeface="Arial" panose="020B0604020202020204" pitchFamily="34" charset="0"/>
              </a:rPr>
              <a:t>TG-Point-of-care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/cervical cancer screening in Kenya and Tanzania 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e are evaluating the document by using it from the start of a new validation study in Tanzania</a:t>
            </a:r>
          </a:p>
          <a:p>
            <a:pPr marL="342900" indent="-342900">
              <a:buFont typeface="Wingdings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We here show a couple of examples from the clinical evaluation document</a:t>
            </a:r>
          </a:p>
          <a:p>
            <a:pPr marL="457200" lvl="1" indent="-457200">
              <a:buAutoNum type="arabicParenR"/>
            </a:pPr>
            <a:r>
              <a:rPr lang="en-US" sz="1800" dirty="0">
                <a:cs typeface="Arial" panose="020B0604020202020204" pitchFamily="34" charset="0"/>
              </a:rPr>
              <a:t>Model Design &amp; Purpose </a:t>
            </a:r>
          </a:p>
          <a:p>
            <a:pPr marL="457200" lvl="1" indent="-457200">
              <a:buAutoNum type="arabicParenR"/>
            </a:pPr>
            <a:r>
              <a:rPr lang="en-US" sz="1800" dirty="0">
                <a:cs typeface="Arial" panose="020B0604020202020204" pitchFamily="34" charset="0"/>
              </a:rPr>
              <a:t>Economic evaluation</a:t>
            </a:r>
          </a:p>
          <a:p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Link to checklist draft </a:t>
            </a:r>
            <a:r>
              <a:rPr lang="en-US" sz="1800" dirty="0">
                <a:solidFill>
                  <a:schemeClr val="tx1"/>
                </a:solidFill>
                <a:latin typeface="+mn-lt"/>
                <a:cs typeface="Arial" panose="020B0604020202020204" pitchFamily="34" charset="0"/>
                <a:hlinkClick r:id="rId5"/>
              </a:rPr>
              <a:t>here</a:t>
            </a:r>
            <a:endParaRPr lang="en-US" sz="1800" dirty="0">
              <a:solidFill>
                <a:schemeClr val="tx1"/>
              </a:solidFill>
              <a:latin typeface="+mn-lt"/>
              <a:cs typeface="Arial" panose="020B0604020202020204" pitchFamily="34" charset="0"/>
            </a:endParaRPr>
          </a:p>
          <a:p>
            <a:pPr marL="285750" lvl="1" indent="-285750">
              <a:buFont typeface="Wingdings" pitchFamily="2" charset="2"/>
              <a:buChar char="§"/>
            </a:pPr>
            <a:endParaRPr lang="en-US" sz="1600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2168" y="70897"/>
            <a:ext cx="2379832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230306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Model design &amp; </a:t>
            </a:r>
            <a:r>
              <a:rPr lang="de-DE" dirty="0" err="1"/>
              <a:t>purpose</a:t>
            </a:r>
            <a:r>
              <a:rPr lang="de-DE" dirty="0"/>
              <a:t> 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Example: POC for cervical cancer screening using AI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46441" y="1330006"/>
            <a:ext cx="11099117" cy="4197988"/>
          </a:xfrm>
        </p:spPr>
        <p:txBody>
          <a:bodyPr>
            <a:noAutofit/>
          </a:bodyPr>
          <a:lstStyle/>
          <a:p>
            <a:r>
              <a:rPr lang="en-US" sz="1400" dirty="0"/>
              <a:t>1.1.1 Identify and describe the specific problem to be solved (population, input data required, output data from model, setting).  </a:t>
            </a:r>
          </a:p>
          <a:p>
            <a:pPr marL="285750" lvl="1" indent="-285750">
              <a:lnSpc>
                <a:spcPct val="100000"/>
              </a:lnSpc>
              <a:buFont typeface="Wingdings" pitchFamily="2" charset="2"/>
              <a:buChar char="§"/>
            </a:pPr>
            <a:r>
              <a:rPr lang="en-US" sz="1200" dirty="0"/>
              <a:t>Develop and evaluate an AI based method for cell-based screening of cervical cancer at the POC in a recourse limited setting.</a:t>
            </a:r>
            <a:r>
              <a:rPr lang="en-US" sz="1200" dirty="0">
                <a:solidFill>
                  <a:srgbClr val="FF0000"/>
                </a:solidFill>
              </a:rPr>
              <a:t> </a:t>
            </a:r>
            <a:endParaRPr lang="en-US" sz="1200" dirty="0"/>
          </a:p>
          <a:p>
            <a:r>
              <a:rPr lang="en-US" sz="1400" dirty="0"/>
              <a:t>1.1.2 Describe how and where the model would fit in the patient journey or clinical workflow.  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200" dirty="0"/>
              <a:t>To be used by health care professionals at small and middle-sized hospitals and beneficiaries are women 18-65 years from the general population.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200" dirty="0"/>
              <a:t>Easy to use instrument for digitizing the cytological samples and results clearly reported back to the end user (technician, nurse, doctor). 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200" dirty="0"/>
              <a:t>Prompt diagnostics at the POC also allowing task shifting. Not fully autonomous, remote (e.g., a pathologist) expert verifies AI findings.</a:t>
            </a:r>
          </a:p>
          <a:p>
            <a:r>
              <a:rPr lang="en-US" sz="1400" dirty="0"/>
              <a:t>1.1.3 Consider and describe any special circumstances related to the intended users or context.  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200" dirty="0"/>
              <a:t>Needs to be tailored to access of treatment (e.g., </a:t>
            </a:r>
            <a:r>
              <a:rPr lang="en-US" sz="1200" dirty="0" err="1"/>
              <a:t>cryo</a:t>
            </a:r>
            <a:r>
              <a:rPr lang="en-US" sz="1200" dirty="0"/>
              <a:t>, biopsy, surgery, chemo). Internet outage possible in rural regions, electricity, internet outage. Differences in prevalence in different regions.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200" dirty="0"/>
              <a:t>Staining variation between labs and technicians and </a:t>
            </a:r>
          </a:p>
          <a:p>
            <a:pPr marL="285750" lvl="1" indent="-285750">
              <a:buFont typeface="Wingdings" pitchFamily="2" charset="2"/>
              <a:buChar char="§"/>
            </a:pPr>
            <a:r>
              <a:rPr lang="en-US" sz="1200" dirty="0"/>
              <a:t>Generalizability of the AI system still to be confirmed (e.g., differences in cervical cancer prevalence, differences between the training set and the prospective study population)</a:t>
            </a:r>
          </a:p>
          <a:p>
            <a:pPr lvl="1"/>
            <a:endParaRPr lang="en-US" sz="1600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2168" y="70897"/>
            <a:ext cx="2379832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19599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r>
              <a:rPr lang="de-DE" dirty="0"/>
              <a:t>Future direction of the WG-C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Global Initiative of AI for Health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E8EADCF5-46AF-4D67-973F-361C8A6B44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3579" y="2775981"/>
            <a:ext cx="11233150" cy="2205219"/>
          </a:xfrm>
        </p:spPr>
        <p:txBody>
          <a:bodyPr/>
          <a:lstStyle/>
          <a:p>
            <a:pPr marL="0" indent="0" algn="ctr" rtl="0" fontAlgn="base">
              <a:buNone/>
            </a:pPr>
            <a:r>
              <a:rPr lang="en-US" sz="2400" b="1" i="0" u="none" strike="noStrike" dirty="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Who </a:t>
            </a:r>
            <a:r>
              <a:rPr lang="en-US" sz="2400" b="0" i="0" u="none" strike="noStrike" dirty="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do we need to work on this?</a:t>
            </a:r>
          </a:p>
          <a:p>
            <a:pPr marL="0" indent="0" algn="ctr" rtl="0" fontAlgn="base">
              <a:buNone/>
            </a:pPr>
            <a:r>
              <a:rPr lang="en-US" sz="24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&amp;</a:t>
            </a:r>
            <a:r>
              <a:rPr lang="en-US" sz="2400" b="0" i="0" u="none" strike="noStrike" dirty="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 </a:t>
            </a:r>
          </a:p>
          <a:p>
            <a:pPr marL="0" indent="0" algn="ctr" rtl="0" fontAlgn="base">
              <a:buNone/>
            </a:pPr>
            <a:r>
              <a:rPr lang="en-US" sz="2400" b="1" i="0" u="none" strike="noStrike" dirty="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How</a:t>
            </a:r>
            <a:r>
              <a:rPr lang="en-US" sz="2400" b="0" i="0" u="none" strike="noStrike" dirty="0">
                <a:solidFill>
                  <a:schemeClr val="tx1"/>
                </a:solidFill>
                <a:effectLst/>
                <a:latin typeface="+mn-lt"/>
                <a:cs typeface="Arial" panose="020B0604020202020204" pitchFamily="34" charset="0"/>
              </a:rPr>
              <a:t> can the ideas be realized? </a:t>
            </a:r>
            <a:r>
              <a:rPr lang="en-US" sz="2400" b="0" i="0" u="none" strike="noStrike" dirty="0">
                <a:solidFill>
                  <a:schemeClr val="accent2"/>
                </a:solidFill>
                <a:effectLst/>
                <a:latin typeface="+mn-lt"/>
                <a:cs typeface="Arial" panose="020B0604020202020204" pitchFamily="34" charset="0"/>
              </a:rPr>
              <a:t> </a:t>
            </a:r>
          </a:p>
          <a:p>
            <a:pPr marL="285750" lvl="1" indent="-285750">
              <a:buFont typeface="Wingdings" pitchFamily="2" charset="2"/>
              <a:buChar char="§"/>
            </a:pPr>
            <a:endParaRPr lang="en-US" sz="1600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8B502DCF-743B-6F8D-B5A9-A9A49033602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12168" y="70897"/>
            <a:ext cx="2379832" cy="4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03797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386BF06-4FE5-4ECB-9E48-683B65D8E9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386BF06-4FE5-4ECB-9E48-683B65D8E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37DBD4C-23EA-4997-B274-B0674ADF01A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560447" y="4466562"/>
            <a:ext cx="5916612" cy="1450910"/>
          </a:xfrm>
        </p:spPr>
        <p:txBody>
          <a:bodyPr/>
          <a:lstStyle/>
          <a:p>
            <a:r>
              <a:rPr lang="de-DE" dirty="0"/>
              <a:t>Get involved &amp; Contact</a:t>
            </a:r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eva.weicken@hhi.fraunhofer.de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B194B718-8346-94DD-B401-7094861CD8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31527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969FAB3-F139-4D43-A7C4-4D804D9FD13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2255355"/>
            <a:ext cx="11233149" cy="1986698"/>
          </a:xfrm>
        </p:spPr>
        <p:txBody>
          <a:bodyPr/>
          <a:lstStyle/>
          <a:p>
            <a:r>
              <a:rPr lang="de-DE" err="1"/>
              <a:t>Thank</a:t>
            </a:r>
            <a:r>
              <a:rPr lang="de-DE"/>
              <a:t> </a:t>
            </a:r>
            <a:r>
              <a:rPr lang="de-DE" err="1"/>
              <a:t>you</a:t>
            </a:r>
            <a:r>
              <a:rPr lang="de-DE"/>
              <a:t> for </a:t>
            </a:r>
            <a:r>
              <a:rPr lang="de-DE" err="1"/>
              <a:t>your</a:t>
            </a:r>
            <a:r>
              <a:rPr lang="de-DE"/>
              <a:t> </a:t>
            </a:r>
            <a:r>
              <a:rPr lang="de-DE" err="1"/>
              <a:t>attention</a:t>
            </a:r>
            <a:r>
              <a:rPr lang="de-DE"/>
              <a:t>!</a:t>
            </a:r>
          </a:p>
          <a:p>
            <a:pPr lvl="1"/>
            <a:r>
              <a:rPr lang="de-DE"/>
              <a:t>—</a:t>
            </a:r>
          </a:p>
        </p:txBody>
      </p:sp>
      <p:pic>
        <p:nvPicPr>
          <p:cNvPr id="2" name="Picture 6">
            <a:extLst>
              <a:ext uri="{FF2B5EF4-FFF2-40B4-BE49-F238E27FC236}">
                <a16:creationId xmlns:a16="http://schemas.microsoft.com/office/drawing/2014/main" id="{241A9665-E7C3-45A5-6F88-B30D8245B8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8982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9F79856-5C31-46CF-811F-5923CFCCD6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0" y="3265803"/>
            <a:ext cx="11712575" cy="3042922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Working Group Clinical Evalu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>
              <a:lnSpc>
                <a:spcPct val="100000"/>
              </a:lnSpc>
            </a:pPr>
            <a:r>
              <a:rPr lang="de-DE" sz="3200" dirty="0">
                <a:solidFill>
                  <a:prstClr val="white"/>
                </a:solidFill>
                <a:latin typeface="Frutiger LT Com 45 Light"/>
              </a:rPr>
              <a:t>Update &amp; future direction</a:t>
            </a:r>
            <a:endParaRPr lang="de-DE" dirty="0"/>
          </a:p>
          <a:p>
            <a:pPr lvl="3"/>
            <a:r>
              <a:rPr lang="de-DE" dirty="0"/>
              <a:t>Eva Weicken &amp; Shubs Upadhyay, Nina Linder, Johan Lundin</a:t>
            </a:r>
          </a:p>
          <a:p>
            <a:pPr lvl="3"/>
            <a:r>
              <a:rPr lang="de-DE" i="1" dirty="0"/>
              <a:t>22 March 2023, Harvard Innovation Labs, Harvard Business School, Cambridge, US</a:t>
            </a:r>
            <a:endParaRPr lang="de-DE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FB12B8D-18B3-3626-57FD-334CE2F656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75675" y="549275"/>
            <a:ext cx="3136900" cy="647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7021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626120" y="4000458"/>
            <a:ext cx="7168102" cy="1250599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Working Group Clinical Evalu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Evolution &amp; Milestones</a:t>
            </a:r>
          </a:p>
        </p:txBody>
      </p:sp>
      <p:pic>
        <p:nvPicPr>
          <p:cNvPr id="2" name="Google Shape;94;p18">
            <a:extLst>
              <a:ext uri="{FF2B5EF4-FFF2-40B4-BE49-F238E27FC236}">
                <a16:creationId xmlns:a16="http://schemas.microsoft.com/office/drawing/2014/main" id="{02C20785-9C30-033A-4681-9422CAE9B699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9206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Ein Bild, das Text, Pflanze, Screenshot enthält.&#10;&#10;Automatisch generierte Beschreibung">
            <a:extLst>
              <a:ext uri="{FF2B5EF4-FFF2-40B4-BE49-F238E27FC236}">
                <a16:creationId xmlns:a16="http://schemas.microsoft.com/office/drawing/2014/main" id="{C5D38040-6CEB-99CA-E2FB-6E320281086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04987" y="1613852"/>
            <a:ext cx="2914915" cy="412181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356014B2-7062-42AF-9354-F0B9703670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356014B2-7062-42AF-9354-F0B9703670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 7">
            <a:extLst>
              <a:ext uri="{FF2B5EF4-FFF2-40B4-BE49-F238E27FC236}">
                <a16:creationId xmlns:a16="http://schemas.microsoft.com/office/drawing/2014/main" id="{F81C1A1D-1FDB-40DC-9FB1-7AAC6197977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 dirty="0"/>
              <a:t>Purpose </a:t>
            </a:r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7FF59F70-1B8A-43C1-8688-5D285BB4DE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8933"/>
          </a:xfrm>
        </p:spPr>
        <p:txBody>
          <a:bodyPr/>
          <a:lstStyle/>
          <a:p>
            <a:r>
              <a:rPr lang="de-DE" dirty="0"/>
              <a:t>What‘s it all about? </a:t>
            </a:r>
            <a:endParaRPr lang="en-US" dirty="0"/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A9143AE3-787F-4666-839A-090830194774}"/>
              </a:ext>
            </a:extLst>
          </p:cNvPr>
          <p:cNvSpPr txBox="1">
            <a:spLocks/>
          </p:cNvSpPr>
          <p:nvPr/>
        </p:nvSpPr>
        <p:spPr bwMode="gray">
          <a:xfrm>
            <a:off x="839425" y="3674761"/>
            <a:ext cx="6410247" cy="2289986"/>
          </a:xfrm>
          <a:prstGeom prst="rect">
            <a:avLst/>
          </a:prstGeom>
        </p:spPr>
        <p:txBody>
          <a:bodyPr wrap="square" lIns="0" tIns="0" rIns="0" bIns="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600" b="0" kern="120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19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accent1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2"/>
              </a:buClr>
              <a:buFont typeface="+mj-lt"/>
              <a:buAutoNum type="arabicPeriod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2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Main goals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Collaboration with other expert groups &amp; global stakeholders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Best practice evaluation and principles 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pecial consideration LMIC settings 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Framework for: clinicians, researchers, developers, </a:t>
            </a:r>
            <a:b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</a:b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regulators, policy makers &amp; patients, public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fine gaps for future research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To be used with other FG-AI4H guidance</a:t>
            </a:r>
          </a:p>
          <a:p>
            <a:pPr marL="180000" marR="0" lvl="3" indent="-18000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  <p:sp>
        <p:nvSpPr>
          <p:cNvPr id="27" name="Textplatzhalter 6">
            <a:extLst>
              <a:ext uri="{FF2B5EF4-FFF2-40B4-BE49-F238E27FC236}">
                <a16:creationId xmlns:a16="http://schemas.microsoft.com/office/drawing/2014/main" id="{01AA0ED9-13C3-4BA1-B989-B4F0717EDC14}"/>
              </a:ext>
            </a:extLst>
          </p:cNvPr>
          <p:cNvSpPr txBox="1">
            <a:spLocks/>
          </p:cNvSpPr>
          <p:nvPr/>
        </p:nvSpPr>
        <p:spPr bwMode="gray">
          <a:xfrm>
            <a:off x="839425" y="1594029"/>
            <a:ext cx="6052119" cy="1589209"/>
          </a:xfrm>
          <a:prstGeom prst="rect">
            <a:avLst/>
          </a:prstGeom>
          <a:gradFill flip="none" rotWithShape="1">
            <a:gsLst>
              <a:gs pos="34000">
                <a:srgbClr val="00779A">
                  <a:alpha val="95000"/>
                </a:srgbClr>
              </a:gs>
              <a:gs pos="0">
                <a:srgbClr val="014A6B">
                  <a:alpha val="95000"/>
                </a:srgbClr>
              </a:gs>
              <a:gs pos="74000">
                <a:schemeClr val="accent5">
                  <a:lumMod val="90000"/>
                  <a:lumOff val="10000"/>
                  <a:alpha val="95000"/>
                </a:schemeClr>
              </a:gs>
              <a:gs pos="100000">
                <a:srgbClr val="09B2AC">
                  <a:alpha val="95000"/>
                </a:srgbClr>
              </a:gs>
            </a:gsLst>
            <a:path path="circle">
              <a:fillToRect r="100000" b="100000"/>
            </a:path>
            <a:tileRect l="-100000" t="-100000"/>
          </a:gradFill>
        </p:spPr>
        <p:txBody>
          <a:bodyPr wrap="square" lIns="288000" tIns="288000" rIns="486000" bIns="288000" numCol="1" spcCol="360000">
            <a:spAutoFit/>
          </a:bodyPr>
          <a:lstStyle>
            <a:lvl1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080" b="1" kern="1200">
                <a:solidFill>
                  <a:schemeClr val="bg1"/>
                </a:solidFill>
                <a:latin typeface="Frutiger LT Com 55 Roman" panose="020B0503030504020204" pitchFamily="34" charset="0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ts val="196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kern="120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 marL="18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540000" indent="-180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216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432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648000" indent="-216000" algn="l" defTabSz="914400" rtl="0" eaLnBrk="1" latinLnBrk="0" hangingPunct="1">
              <a:lnSpc>
                <a:spcPts val="1960"/>
              </a:lnSpc>
              <a:spcBef>
                <a:spcPts val="0"/>
              </a:spcBef>
              <a:buClr>
                <a:schemeClr val="bg1"/>
              </a:buClr>
              <a:buFont typeface="+mj-lt"/>
              <a:buAutoNum type="arabicPeriod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65 Bold"/>
                <a:ea typeface="+mn-ea"/>
                <a:cs typeface="+mn-cs"/>
              </a:rPr>
              <a:t>Framework on clinical evaluation</a:t>
            </a:r>
          </a:p>
          <a:p>
            <a:pPr marL="0" marR="0" lvl="1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208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55 Roman" panose="020B0503030504020204" pitchFamily="34" charset="0"/>
                <a:ea typeface="+mn-ea"/>
                <a:cs typeface="+mn-cs"/>
              </a:rPr>
              <a:t>—</a:t>
            </a:r>
          </a:p>
          <a:p>
            <a:pPr marL="0" marR="0" lvl="2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Design &amp; Purpose – Algorithmic validation - Clinical validation – Ongoing monitoring – Ethics – Economic evaluation</a:t>
            </a:r>
          </a:p>
        </p:txBody>
      </p:sp>
    </p:spTree>
    <p:extLst>
      <p:ext uri="{BB962C8B-B14F-4D97-AF65-F5344CB8AC3E}">
        <p14:creationId xmlns:p14="http://schemas.microsoft.com/office/powerpoint/2010/main" val="13503798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A96D7F38-C5AE-4FFA-AC9F-DDD63839CE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A96D7F38-C5AE-4FFA-AC9F-DDD63839CE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22464388-2ECA-4EEA-8E18-9F2C9F7BAE3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Collaboration</a:t>
            </a:r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9175E41B-8D90-4B9C-AA0C-02FF09B533A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479425" y="778321"/>
            <a:ext cx="11233150" cy="318933"/>
          </a:xfrm>
        </p:spPr>
        <p:txBody>
          <a:bodyPr numCol="1"/>
          <a:lstStyle/>
          <a:p>
            <a:r>
              <a:rPr lang="de-DE"/>
              <a:t>Group </a:t>
            </a:r>
            <a:r>
              <a:rPr lang="de-DE" err="1"/>
              <a:t>members</a:t>
            </a:r>
            <a:endParaRPr lang="de-DE"/>
          </a:p>
        </p:txBody>
      </p:sp>
      <p:sp>
        <p:nvSpPr>
          <p:cNvPr id="2" name="Textplatzhalter 1">
            <a:extLst>
              <a:ext uri="{FF2B5EF4-FFF2-40B4-BE49-F238E27FC236}">
                <a16:creationId xmlns:a16="http://schemas.microsoft.com/office/drawing/2014/main" id="{3023E634-4318-419C-B03F-D5665391FB0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9425" y="1479987"/>
            <a:ext cx="10939145" cy="5171031"/>
          </a:xfrm>
        </p:spPr>
        <p:txBody>
          <a:bodyPr/>
          <a:lstStyle/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900" b="1" i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External expert group</a:t>
            </a:r>
            <a:r>
              <a:rPr lang="de-DE" sz="900" b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(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phabetic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rd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: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bouElkhi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Osama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ch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, Dubai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kog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Darlington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inoHealt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I Labs, Ghana), Allen Megan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spire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dea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salama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ad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WHO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Arentz, Matthew (FIND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Baird Pat (Philips, USA), Balachandra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radeep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Freelancer E-Health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stawrou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ndrew (Peek Vision, Global Eye Health, UK), Bathke Arne (University of Salzburg, Austr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iavegatt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ilh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lexandre (São Paulo University, Brazil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resswel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thrin (University of Edinburgh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arko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Ernest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roadReac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ealthcar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South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fr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Ehrenfeld Jesse (American Medical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ssociati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AMA), USA), Fehr Jana (Hasso-Plattner-Institute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enec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tthew (Una Health, Germany), Fürstenau Daniel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openhage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Business School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nmark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audi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obert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aritè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Germany), Gilbert Stephen (Technische Universität Dresden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lo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teusz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reave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elix (National Institute for Health and Care Excellence (NICE), UK), Gupt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aurab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Department of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ardiolog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All India Institute of Medical Science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Gütt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Zdenek (University Hospital Olomouc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zech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Hatton Grace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ensyn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, UK), Ho Dean (National University of Singapore, Singapore), Ibrahim Hussein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octors.net.uk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Islam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arifu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aki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AUS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arr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eza (Pro Care, NZ), Jeo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onghong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Electronics and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elecommuncation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esearch Institute, South Korea), Joh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omme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George Institute for Global Health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adam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igved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Head of digital access, FIND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herif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erath (LREN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uku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tephanie (WHO, UCL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urty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ichal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apã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Luís (Velez) (University of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isb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Portugal), Linder Nina (University of Helsinki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in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Loh Irving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ermedic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Lovey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te (University of Auckland, NZ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grab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arah (Macquarie University, Sydney, Austral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haj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rnav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Department of Medicine, University College Cork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re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lpan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ohit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WHO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witzer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mu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hondak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CMED Health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nglades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Masud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Jaki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ossa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huiy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CTS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Banglades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Mat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ubet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Oxford University Hospitals NHS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Foundati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Trust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cCradde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elissa (Sick Kids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opspit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Canada), Menezes Audrey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ealthil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Murchison Andrew (Oxford University Hospitals NHS Trust, UK), Murphy Lisa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entr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or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mproving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Data Collaboration at NHSX, UK), Ess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ohamedal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I Lab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Nakasi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Rose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akerer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Uganda), Oala Luis (Fraunhofer Heinrich Hertz Institute (HHI)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ankov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Natalie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Metadvic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iekut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gata (Health Action Tank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an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rra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Lina (1Doc3, Colomb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Redd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Sandeep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aki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University, Australia), Salim Ally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spire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dea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nzani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chwendicke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Falk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Charitè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Germany), Sethi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Tavpritesh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draprasth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Institute of Information Technology Delhi, Indi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ood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arpreet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National Health Service (NHS), UK), Sous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ê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Fraunhofer Portugal, Portugal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rivastav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Manish (Virginia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Polytechnic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Institute &amp; State Univ., USA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tarling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Johannes (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owt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Health Digital Business Solutions, Germany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Wasswa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William (Global Auto Systems LTD, Uganda), Werneck Leite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ixandro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Tribal, Mexico)</a:t>
            </a:r>
          </a:p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900" b="1" i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Writing group</a:t>
            </a:r>
            <a:r>
              <a:rPr lang="de-DE" sz="900" i="1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(in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alphabetical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order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): Carolan Jane (UCL Institute of Health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Informatic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Dennisto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Alastair (University of Birmingham, UK),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Karpathakis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Kassandra (</a:t>
            </a:r>
            <a:r>
              <a:rPr lang="de-DE" sz="900" dirty="0">
                <a:solidFill>
                  <a:schemeClr val="tx1"/>
                </a:solidFill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Harvard University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, USA), Lee Naomi (National Institute for Health and Care Excellence (NICE), UK), Liu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Xiaoxu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University of Birmingham, UK), Upadhyay </a:t>
            </a:r>
            <a:r>
              <a:rPr lang="de-DE" sz="900" dirty="0" err="1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Shubhanan</a:t>
            </a:r>
            <a:r>
              <a:rPr lang="de-DE" sz="900" dirty="0">
                <a:solidFill>
                  <a:schemeClr val="tx1"/>
                </a:solidFill>
                <a:effectLst/>
                <a:latin typeface="+mn-lt"/>
                <a:ea typeface="Calibri" panose="020F0502020204030204" pitchFamily="34" charset="0"/>
                <a:cs typeface="Arial" panose="020B0604020202020204" pitchFamily="34" charset="0"/>
              </a:rPr>
              <a:t> (Ada Health, Germany), Weicken Eva (Fraunhofer Heinrich Hertz Institute (HHI), Germany), Wilkinson Thomas (Ministry of Health, NZ)</a:t>
            </a:r>
          </a:p>
          <a:p>
            <a:pPr marL="0" indent="0" algn="just">
              <a:lnSpc>
                <a:spcPct val="150000"/>
              </a:lnSpc>
              <a:spcBef>
                <a:spcPts val="600"/>
              </a:spcBef>
              <a:buNone/>
            </a:pPr>
            <a:r>
              <a:rPr lang="de-DE" sz="14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</a:p>
          <a:p>
            <a:pPr lvl="1"/>
            <a:endParaRPr lang="de-DE" dirty="0"/>
          </a:p>
        </p:txBody>
      </p:sp>
      <p:pic>
        <p:nvPicPr>
          <p:cNvPr id="4" name="Picture 6">
            <a:extLst>
              <a:ext uri="{FF2B5EF4-FFF2-40B4-BE49-F238E27FC236}">
                <a16:creationId xmlns:a16="http://schemas.microsoft.com/office/drawing/2014/main" id="{D8D963C3-805B-369A-9AB4-FCCE53451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069" y="259200"/>
            <a:ext cx="2349501" cy="4798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662719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1F7A04A-71D1-45B6-B350-5FA7CAE858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1F7A04A-71D1-45B6-B350-5FA7CAE858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9B520085-9194-4F0F-ABC7-184C219C5562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5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Timeline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21097FC-3560-4CD8-BE45-94DBE3A62DD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DE"/>
              <a:t>Development of the framework &amp; deliverable </a:t>
            </a:r>
            <a:endParaRPr lang="en-US"/>
          </a:p>
        </p:txBody>
      </p:sp>
      <p:graphicFrame>
        <p:nvGraphicFramePr>
          <p:cNvPr id="14" name="Diagram 5">
            <a:extLst>
              <a:ext uri="{FF2B5EF4-FFF2-40B4-BE49-F238E27FC236}">
                <a16:creationId xmlns:a16="http://schemas.microsoft.com/office/drawing/2014/main" id="{FB8A6064-277B-4FC9-99FD-FE2FF232E67D}"/>
              </a:ext>
            </a:extLst>
          </p:cNvPr>
          <p:cNvGraphicFramePr/>
          <p:nvPr/>
        </p:nvGraphicFramePr>
        <p:xfrm>
          <a:off x="1199425" y="2182098"/>
          <a:ext cx="10318177" cy="26946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5" name="Google Shape;94;p18">
            <a:extLst>
              <a:ext uri="{FF2B5EF4-FFF2-40B4-BE49-F238E27FC236}">
                <a16:creationId xmlns:a16="http://schemas.microsoft.com/office/drawing/2014/main" id="{4210619B-7A74-0300-B64A-169AAA0A856F}"/>
              </a:ext>
            </a:extLst>
          </p:cNvPr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72717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3926317"/>
            <a:ext cx="8780463" cy="1743041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Working Group Clinical Evalu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Framework for Clinical evaluation of AI4 Health</a:t>
            </a:r>
          </a:p>
        </p:txBody>
      </p:sp>
      <p:pic>
        <p:nvPicPr>
          <p:cNvPr id="2" name="Google Shape;94;p18">
            <a:extLst>
              <a:ext uri="{FF2B5EF4-FFF2-40B4-BE49-F238E27FC236}">
                <a16:creationId xmlns:a16="http://schemas.microsoft.com/office/drawing/2014/main" id="{349F3B08-BE24-CF62-B508-393DCF63DB6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61618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6F092D-727C-44CD-BB0C-F1C722C503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6F092D-727C-44CD-BB0C-F1C722C503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83E5052C-74D3-4E8D-B5BD-603503280906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79425" y="395288"/>
            <a:ext cx="11233150" cy="382733"/>
          </a:xfrm>
        </p:spPr>
        <p:txBody>
          <a:bodyPr vert="horz"/>
          <a:lstStyle/>
          <a:p>
            <a:pPr lvl="0"/>
            <a:r>
              <a:rPr lang="de-DE"/>
              <a:t>Framework for clinical evaluation of AI4H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B6BC8F31-A681-46B9-8DB4-0776C0D98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778321"/>
            <a:ext cx="11233150" cy="319318"/>
          </a:xfrm>
        </p:spPr>
        <p:txBody>
          <a:bodyPr/>
          <a:lstStyle/>
          <a:p>
            <a:r>
              <a:rPr lang="en-US" dirty="0"/>
              <a:t>Across four phases</a:t>
            </a:r>
          </a:p>
        </p:txBody>
      </p:sp>
      <p:pic>
        <p:nvPicPr>
          <p:cNvPr id="4" name="Inhaltsplatzhalter 29">
            <a:extLst>
              <a:ext uri="{FF2B5EF4-FFF2-40B4-BE49-F238E27FC236}">
                <a16:creationId xmlns:a16="http://schemas.microsoft.com/office/drawing/2014/main" id="{5DF39520-AB0D-87B7-F291-23638843AF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7133" y="1097639"/>
            <a:ext cx="8732905" cy="4964800"/>
          </a:xfrm>
          <a:prstGeom prst="rect">
            <a:avLst/>
          </a:prstGeom>
        </p:spPr>
      </p:pic>
      <p:pic>
        <p:nvPicPr>
          <p:cNvPr id="5" name="Google Shape;94;p18">
            <a:extLst>
              <a:ext uri="{FF2B5EF4-FFF2-40B4-BE49-F238E27FC236}">
                <a16:creationId xmlns:a16="http://schemas.microsoft.com/office/drawing/2014/main" id="{308485BE-E280-718A-75CC-4B415FA32868}"/>
              </a:ext>
            </a:extLst>
          </p:cNvPr>
          <p:cNvPicPr preferRelativeResize="0"/>
          <p:nvPr/>
        </p:nvPicPr>
        <p:blipFill>
          <a:blip r:embed="rId6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C2A84F28-CCA4-5DC7-6BB0-B3ABE985B9A9}"/>
              </a:ext>
            </a:extLst>
          </p:cNvPr>
          <p:cNvSpPr txBox="1"/>
          <p:nvPr/>
        </p:nvSpPr>
        <p:spPr>
          <a:xfrm>
            <a:off x="10458450" y="5654376"/>
            <a:ext cx="1402537" cy="2250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ts val="1960"/>
              </a:lnSpc>
              <a:spcBef>
                <a:spcPts val="0"/>
              </a:spcBef>
              <a:spcAft>
                <a:spcPts val="0"/>
              </a:spcAft>
              <a:buClr>
                <a:srgbClr val="179C7D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Source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5B7F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</a:rPr>
              <a:t>: </a:t>
            </a:r>
            <a:r>
              <a:rPr kumimoji="0" lang="de-DE" sz="1000" b="0" i="0" u="none" strike="noStrike" kern="1200" cap="none" spc="0" normalizeH="0" baseline="0" noProof="0" dirty="0">
                <a:ln>
                  <a:noFill/>
                </a:ln>
                <a:solidFill>
                  <a:srgbClr val="005B7F"/>
                </a:solidFill>
                <a:effectLst/>
                <a:uLnTx/>
                <a:uFillTx/>
                <a:latin typeface="Frutiger LT Com 45 Light"/>
                <a:ea typeface="+mn-ea"/>
                <a:cs typeface="+mn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el 7.4 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5B7F"/>
              </a:solidFill>
              <a:effectLst/>
              <a:uLnTx/>
              <a:uFillTx/>
              <a:latin typeface="Frutiger LT Com 45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8013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B23A4EC-E6FD-4AAF-90B4-44785B1F15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B23A4EC-E6FD-4AAF-90B4-44785B1F15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>
            <a:extLst>
              <a:ext uri="{FF2B5EF4-FFF2-40B4-BE49-F238E27FC236}">
                <a16:creationId xmlns:a16="http://schemas.microsoft.com/office/drawing/2014/main" id="{609A6212-948B-4F5F-9BEF-32E5083283C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 bwMode="gray">
          <a:xfrm>
            <a:off x="479425" y="4086955"/>
            <a:ext cx="8080375" cy="1250599"/>
          </a:xfrm>
        </p:spPr>
        <p:txBody>
          <a:bodyPr/>
          <a:lstStyle/>
          <a:p>
            <a:r>
              <a:rPr lang="de-DE" sz="1600" dirty="0">
                <a:solidFill>
                  <a:prstClr val="white"/>
                </a:solidFill>
                <a:latin typeface="Frutiger LT Com 65 Bold"/>
              </a:rPr>
              <a:t>ITU/WHO FG-AI4H Working Group Clinical Evaluation</a:t>
            </a:r>
            <a:endParaRPr lang="de-DE" dirty="0"/>
          </a:p>
          <a:p>
            <a:pPr lvl="1"/>
            <a:r>
              <a:rPr lang="de-DE" dirty="0"/>
              <a:t>—</a:t>
            </a:r>
          </a:p>
          <a:p>
            <a:pPr lvl="2"/>
            <a:r>
              <a:rPr lang="de-DE" dirty="0"/>
              <a:t>Update &amp; Future direction</a:t>
            </a:r>
          </a:p>
        </p:txBody>
      </p:sp>
      <p:pic>
        <p:nvPicPr>
          <p:cNvPr id="2" name="Google Shape;94;p18">
            <a:extLst>
              <a:ext uri="{FF2B5EF4-FFF2-40B4-BE49-F238E27FC236}">
                <a16:creationId xmlns:a16="http://schemas.microsoft.com/office/drawing/2014/main" id="{349F3B08-BE24-CF62-B508-393DCF63DB65}"/>
              </a:ext>
            </a:extLst>
          </p:cNvPr>
          <p:cNvPicPr preferRelativeResize="0"/>
          <p:nvPr/>
        </p:nvPicPr>
        <p:blipFill>
          <a:blip r:embed="rId5">
            <a:alphaModFix/>
          </a:blip>
          <a:stretch>
            <a:fillRect/>
          </a:stretch>
        </p:blipFill>
        <p:spPr>
          <a:xfrm>
            <a:off x="9475012" y="361238"/>
            <a:ext cx="2385975" cy="488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4912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GAI4H-R-000_PPT-Template-16x9.pptx" id="{EE62FBBD-1DFB-4F85-A153-1F32815DB8B8}" vid="{76AE4977-3825-43F0-AE2D-270D4A2CC77D}"/>
    </a:ext>
  </a:extLst>
</a:theme>
</file>

<file path=ppt/theme/theme2.xml><?xml version="1.0" encoding="utf-8"?>
<a:theme xmlns:a="http://schemas.openxmlformats.org/drawingml/2006/main" name="Fraunhofer_Master_16-9">
  <a:themeElements>
    <a:clrScheme name="Fraunhofer_Color">
      <a:dk1>
        <a:sysClr val="windowText" lastClr="000000"/>
      </a:dk1>
      <a:lt1>
        <a:sysClr val="window" lastClr="FFFFFF"/>
      </a:lt1>
      <a:dk2>
        <a:srgbClr val="F58220"/>
      </a:dk2>
      <a:lt2>
        <a:srgbClr val="A6BBC8"/>
      </a:lt2>
      <a:accent1>
        <a:srgbClr val="179C7D"/>
      </a:accent1>
      <a:accent2>
        <a:srgbClr val="005B7F"/>
      </a:accent2>
      <a:accent3>
        <a:srgbClr val="A6BBC8"/>
      </a:accent3>
      <a:accent4>
        <a:srgbClr val="008598"/>
      </a:accent4>
      <a:accent5>
        <a:srgbClr val="39C1CD"/>
      </a:accent5>
      <a:accent6>
        <a:srgbClr val="B2D235"/>
      </a:accent6>
      <a:hlink>
        <a:srgbClr val="179C7D"/>
      </a:hlink>
      <a:folHlink>
        <a:srgbClr val="005B7F"/>
      </a:folHlink>
    </a:clrScheme>
    <a:fontScheme name="Fraunhofer_Fonts">
      <a:majorFont>
        <a:latin typeface="Frutiger LT Com 65 Bold"/>
        <a:ea typeface=""/>
        <a:cs typeface=""/>
      </a:majorFont>
      <a:minorFont>
        <a:latin typeface="Frutiger LT Com 45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CCDEE5"/>
        </a:solidFill>
        <a:ln w="9525">
          <a:noFill/>
        </a:ln>
      </a:spPr>
      <a:bodyPr lIns="108000" tIns="108000" rIns="108000" bIns="108000" rtlCol="0" anchor="ctr"/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80000" indent="-180000" algn="l">
          <a:lnSpc>
            <a:spcPts val="1960"/>
          </a:lnSpc>
          <a:buClr>
            <a:schemeClr val="accent1"/>
          </a:buClr>
          <a:buFont typeface="Wingdings" panose="05000000000000000000" pitchFamily="2" charset="2"/>
          <a:buChar char="§"/>
          <a:defRPr sz="1400" dirty="0" smtClean="0"/>
        </a:defPPr>
      </a:lstStyle>
    </a:txDef>
  </a:objectDefaults>
  <a:extraClrSchemeLst/>
  <a:custClrLst>
    <a:custClr>
      <a:srgbClr val="179C7D"/>
    </a:custClr>
    <a:custClr>
      <a:srgbClr val="005B7F"/>
    </a:custClr>
    <a:custClr>
      <a:srgbClr val="A6BBC8"/>
    </a:custClr>
    <a:custClr>
      <a:srgbClr val="F58220"/>
    </a:custClr>
    <a:custClr>
      <a:srgbClr val="FFFFFF"/>
    </a:custClr>
    <a:custClr>
      <a:srgbClr val="337C99"/>
    </a:custClr>
    <a:custClr>
      <a:srgbClr val="669DB2"/>
    </a:custClr>
    <a:custClr>
      <a:srgbClr val="99BDCC"/>
    </a:custClr>
    <a:custClr>
      <a:srgbClr val="CCDEE5"/>
    </a:custClr>
    <a:custClr>
      <a:srgbClr val="E5EEF2"/>
    </a:custClr>
    <a:custClr>
      <a:srgbClr val="1C3F52"/>
    </a:custClr>
    <a:custClr>
      <a:srgbClr val="D3C7AE"/>
    </a:custClr>
    <a:custClr>
      <a:srgbClr val="008598"/>
    </a:custClr>
    <a:custClr>
      <a:srgbClr val="39C1CD"/>
    </a:custClr>
    <a:custClr>
      <a:srgbClr val="B2D235"/>
    </a:custClr>
    <a:custClr>
      <a:srgbClr val="FDB913"/>
    </a:custClr>
    <a:custClr>
      <a:srgbClr val="BB0056"/>
    </a:custClr>
    <a:custClr>
      <a:srgbClr val="7C154D"/>
    </a:custClr>
    <a:custClr>
      <a:srgbClr val="FFFFFF"/>
    </a:custClr>
    <a:custClr>
      <a:srgbClr val="FFFFFF"/>
    </a:custClr>
  </a:custClrLst>
  <a:extLst>
    <a:ext uri="{05A4C25C-085E-4340-85A3-A5531E510DB2}">
      <thm15:themeFamily xmlns:thm15="http://schemas.microsoft.com/office/thememl/2012/main" name="Präsentation7" id="{14180148-20CF-4DA7-A721-921E466A1C22}" vid="{F8CF5006-811B-4D57-A7EB-E6DAF4B53F7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EA3824D-ED59-4C1C-AB9D-B698CFD73704}"/>
</file>

<file path=customXml/itemProps2.xml><?xml version="1.0" encoding="utf-8"?>
<ds:datastoreItem xmlns:ds="http://schemas.openxmlformats.org/officeDocument/2006/customXml" ds:itemID="{263EDF69-883F-4630-8D5D-47FF3AA110B2}"/>
</file>

<file path=customXml/itemProps3.xml><?xml version="1.0" encoding="utf-8"?>
<ds:datastoreItem xmlns:ds="http://schemas.openxmlformats.org/officeDocument/2006/customXml" ds:itemID="{8D757891-533E-4B08-9CC2-432445C0232A}"/>
</file>

<file path=docProps/app.xml><?xml version="1.0" encoding="utf-8"?>
<Properties xmlns="http://schemas.openxmlformats.org/officeDocument/2006/extended-properties" xmlns:vt="http://schemas.openxmlformats.org/officeDocument/2006/docPropsVTypes">
  <Template>FGAI4H-R-000_PPT-Template-16x9</Template>
  <TotalTime>3</TotalTime>
  <Words>1465</Words>
  <Application>Microsoft Office PowerPoint</Application>
  <PresentationFormat>Widescreen</PresentationFormat>
  <Paragraphs>112</Paragraphs>
  <Slides>16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等线</vt:lpstr>
      <vt:lpstr>Arial</vt:lpstr>
      <vt:lpstr>Calibri</vt:lpstr>
      <vt:lpstr>Calibri Light</vt:lpstr>
      <vt:lpstr>Frutiger LT Com 45 Light</vt:lpstr>
      <vt:lpstr>Frutiger LT Com 55 Roman</vt:lpstr>
      <vt:lpstr>Frutiger LT Com 65 Bold</vt:lpstr>
      <vt:lpstr>Wingdings</vt:lpstr>
      <vt:lpstr>Office 主题​​</vt:lpstr>
      <vt:lpstr>Fraunhofer_Master_16-9</vt:lpstr>
      <vt:lpstr>think-cell Folie</vt:lpstr>
      <vt:lpstr>PowerPoint Presentation</vt:lpstr>
      <vt:lpstr>PowerPoint Presentation</vt:lpstr>
      <vt:lpstr>PowerPoint Presentation</vt:lpstr>
      <vt:lpstr>Purpose </vt:lpstr>
      <vt:lpstr>Collaboration</vt:lpstr>
      <vt:lpstr>Timeline</vt:lpstr>
      <vt:lpstr>PowerPoint Presentation</vt:lpstr>
      <vt:lpstr>Framework for clinical evaluation of AI4H</vt:lpstr>
      <vt:lpstr>PowerPoint Presentation</vt:lpstr>
      <vt:lpstr>Latest activities &amp; future direction</vt:lpstr>
      <vt:lpstr>Implementation </vt:lpstr>
      <vt:lpstr>Adaptation of the Checklist for clinical evaluation of AI for health</vt:lpstr>
      <vt:lpstr>Model design &amp; purpose </vt:lpstr>
      <vt:lpstr>Future direction of the WG-C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tt.2 – Presentation - DEL7.4 update: Clinical evaluation of AI for health</dc:title>
  <dc:creator>TSB (HT)</dc:creator>
  <cp:lastModifiedBy>TSB (HT)</cp:lastModifiedBy>
  <cp:revision>1</cp:revision>
  <cp:lastPrinted>2019-04-04T08:49:31Z</cp:lastPrinted>
  <dcterms:created xsi:type="dcterms:W3CDTF">2023-03-22T16:21:04Z</dcterms:created>
  <dcterms:modified xsi:type="dcterms:W3CDTF">2023-03-22T16:44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